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0"/>
  </p:notesMasterIdLst>
  <p:handoutMasterIdLst>
    <p:handoutMasterId r:id="rId31"/>
  </p:handoutMasterIdLst>
  <p:sldIdLst>
    <p:sldId id="470" r:id="rId2"/>
    <p:sldId id="471" r:id="rId3"/>
    <p:sldId id="472" r:id="rId4"/>
    <p:sldId id="529" r:id="rId5"/>
    <p:sldId id="525" r:id="rId6"/>
    <p:sldId id="526" r:id="rId7"/>
    <p:sldId id="528" r:id="rId8"/>
    <p:sldId id="530" r:id="rId9"/>
    <p:sldId id="502" r:id="rId10"/>
    <p:sldId id="524" r:id="rId11"/>
    <p:sldId id="513" r:id="rId12"/>
    <p:sldId id="527" r:id="rId13"/>
    <p:sldId id="522" r:id="rId14"/>
    <p:sldId id="533" r:id="rId15"/>
    <p:sldId id="534" r:id="rId16"/>
    <p:sldId id="541" r:id="rId17"/>
    <p:sldId id="542" r:id="rId18"/>
    <p:sldId id="497" r:id="rId19"/>
    <p:sldId id="531" r:id="rId20"/>
    <p:sldId id="532" r:id="rId21"/>
    <p:sldId id="523" r:id="rId22"/>
    <p:sldId id="495" r:id="rId23"/>
    <p:sldId id="537" r:id="rId24"/>
    <p:sldId id="538" r:id="rId25"/>
    <p:sldId id="540" r:id="rId26"/>
    <p:sldId id="539" r:id="rId27"/>
    <p:sldId id="535" r:id="rId28"/>
    <p:sldId id="536" r:id="rId2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10" autoAdjust="0"/>
    <p:restoredTop sz="73725" autoAdjust="0"/>
  </p:normalViewPr>
  <p:slideViewPr>
    <p:cSldViewPr snapToGrid="0">
      <p:cViewPr varScale="1">
        <p:scale>
          <a:sx n="75" d="100"/>
          <a:sy n="75" d="100"/>
        </p:scale>
        <p:origin x="810" y="72"/>
      </p:cViewPr>
      <p:guideLst>
        <p:guide orient="horz" pos="552"/>
        <p:guide pos="504"/>
        <p:guide orient="horz" pos="1032"/>
      </p:guideLst>
    </p:cSldViewPr>
  </p:slideViewPr>
  <p:outlineViewPr>
    <p:cViewPr>
      <p:scale>
        <a:sx n="33" d="100"/>
        <a:sy n="33" d="100"/>
      </p:scale>
      <p:origin x="0" y="-88"/>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9" d="100"/>
          <a:sy n="89" d="100"/>
        </p:scale>
        <p:origin x="1784"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1/15/2020</a:t>
            </a:fld>
            <a:endParaRPr lang="en-US"/>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N°›</a:t>
            </a:fld>
            <a:endParaRPr lang="en-US"/>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1/15/2020</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N°›</a:t>
            </a:fld>
            <a:endParaRPr lang="en-US"/>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rescue.org/access-a-counselor/"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doc.rescue.org/" TargetMode="External"/><Relationship Id="rId5" Type="http://schemas.openxmlformats.org/officeDocument/2006/relationships/hyperlink" Target="https://doc.rescue.org/cultivate-your-resilience-with-customized-self-care-planning/" TargetMode="External"/><Relationship Id="rId4" Type="http://schemas.openxmlformats.org/officeDocument/2006/relationships/hyperlink" Target="https://doc.rescue.org/request-services-for-your-workplace/#accessManager"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err="1"/>
              <a:t>Présentez</a:t>
            </a:r>
            <a:r>
              <a:t> </a:t>
            </a:r>
            <a:r>
              <a:rPr err="1"/>
              <a:t>brièvement</a:t>
            </a:r>
            <a:r>
              <a:t> le </a:t>
            </a:r>
            <a:r>
              <a:rPr err="1"/>
              <a:t>facilitateur</a:t>
            </a:r>
            <a:r>
              <a:t>. </a:t>
            </a:r>
          </a:p>
          <a:p>
            <a:pPr marL="171450" indent="-171450">
              <a:buFont typeface="Arial" panose="020B0604020202020204" pitchFamily="34" charset="0"/>
              <a:buChar char="•"/>
            </a:pPr>
            <a:r>
              <a:t>(Si le temps le </a:t>
            </a:r>
            <a:r>
              <a:rPr err="1"/>
              <a:t>permet</a:t>
            </a:r>
            <a:r>
              <a:t>) </a:t>
            </a:r>
            <a:r>
              <a:rPr err="1"/>
              <a:t>faites</a:t>
            </a:r>
            <a:r>
              <a:t> les </a:t>
            </a:r>
            <a:r>
              <a:rPr err="1"/>
              <a:t>présentations</a:t>
            </a:r>
            <a:r>
              <a:t> et un « </a:t>
            </a:r>
            <a:r>
              <a:rPr err="1"/>
              <a:t>brise</a:t>
            </a:r>
            <a:r>
              <a:t>-glace » avec les participants.</a:t>
            </a:r>
          </a:p>
        </p:txBody>
      </p:sp>
      <p:sp>
        <p:nvSpPr>
          <p:cNvPr id="4" name="Slide Number Placeholder 3"/>
          <p:cNvSpPr>
            <a:spLocks noGrp="1"/>
          </p:cNvSpPr>
          <p:nvPr>
            <p:ph type="sldNum" sz="quarter" idx="5"/>
          </p:nvPr>
        </p:nvSpPr>
        <p:spPr/>
        <p:txBody>
          <a:bodyPr/>
          <a:lstStyle/>
          <a:p>
            <a:fld id="{D70FF2E4-95BE-49CA-89E1-C2C428ECDA9A}" type="slidenum">
              <a:rPr lang="en-US" smtClean="0"/>
              <a:pPr/>
              <a:t>1</a:t>
            </a:fld>
            <a:endParaRPr lang="en-US"/>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a:p>
        </p:txBody>
      </p:sp>
    </p:spTree>
    <p:extLst>
      <p:ext uri="{BB962C8B-B14F-4D97-AF65-F5344CB8AC3E}">
        <p14:creationId xmlns:p14="http://schemas.microsoft.com/office/powerpoint/2010/main" val="2602807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Présentez </a:t>
            </a:r>
            <a:r>
              <a:rPr b="0" i="0"/>
              <a:t>les informations qui se trouvent sur la diapositive. </a:t>
            </a:r>
          </a:p>
          <a:p>
            <a:endParaRPr lang="en-US" b="0" i="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a:p>
        </p:txBody>
      </p:sp>
    </p:spTree>
    <p:extLst>
      <p:ext uri="{BB962C8B-B14F-4D97-AF65-F5344CB8AC3E}">
        <p14:creationId xmlns:p14="http://schemas.microsoft.com/office/powerpoint/2010/main" val="14497620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Demandez aux participants : </a:t>
            </a:r>
            <a:r>
              <a:rPr sz="1200" b="0" i="0" kern="1200">
                <a:solidFill>
                  <a:schemeClr val="tx1"/>
                </a:solidFill>
                <a:effectLst/>
                <a:latin typeface="+mn-lt"/>
                <a:ea typeface="+mn-ea"/>
                <a:cs typeface="+mn-cs"/>
              </a:rPr>
              <a:t>Qu'est-ce qui VOUS aide à éviter et à gérer le burnout ? </a:t>
            </a:r>
          </a:p>
          <a:p>
            <a:endParaRPr lang="en-US" sz="1200" b="0" i="0" kern="1200">
              <a:solidFill>
                <a:schemeClr val="tx1"/>
              </a:solidFill>
              <a:effectLst/>
              <a:latin typeface="+mn-lt"/>
              <a:ea typeface="+mn-ea"/>
              <a:cs typeface="+mn-cs"/>
            </a:endParaRPr>
          </a:p>
          <a:p>
            <a:r>
              <a:rPr sz="1200" b="1" i="1" kern="1200">
                <a:solidFill>
                  <a:schemeClr val="tx1"/>
                </a:solidFill>
                <a:effectLst/>
                <a:latin typeface="+mn-lt"/>
                <a:ea typeface="+mn-ea"/>
                <a:cs typeface="+mn-cs"/>
              </a:rPr>
              <a:t>Discutez</a:t>
            </a:r>
            <a:r>
              <a:rPr sz="1200" kern="1200">
                <a:solidFill>
                  <a:schemeClr val="tx1"/>
                </a:solidFill>
                <a:effectLst/>
                <a:latin typeface="+mn-lt"/>
                <a:ea typeface="+mn-ea"/>
                <a:cs typeface="+mn-cs"/>
              </a:rPr>
              <a:t> des contributions des participants.</a:t>
            </a:r>
            <a:r>
              <a:rPr>
                <a:effectLst/>
              </a:rPr>
              <a:t> </a:t>
            </a:r>
            <a:endParaRPr lang="en-US" sz="1200" b="0" i="0" kern="1200">
              <a:solidFill>
                <a:schemeClr val="tx1"/>
              </a:solidFill>
              <a:effectLst/>
              <a:latin typeface="+mn-lt"/>
              <a:ea typeface="+mn-ea"/>
              <a:cs typeface="+mn-cs"/>
            </a:endParaRPr>
          </a:p>
          <a:p>
            <a:endParaRPr lang="en-US" sz="12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3</a:t>
            </a:fld>
            <a:endParaRPr lang="en-US"/>
          </a:p>
        </p:txBody>
      </p:sp>
    </p:spTree>
    <p:extLst>
      <p:ext uri="{BB962C8B-B14F-4D97-AF65-F5344CB8AC3E}">
        <p14:creationId xmlns:p14="http://schemas.microsoft.com/office/powerpoint/2010/main" val="12680782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b="1" i="1"/>
              <a:t>Présentez </a:t>
            </a:r>
            <a:r>
              <a:rPr b="0" i="0"/>
              <a:t>les informations qui figurent sur la diapositive. </a:t>
            </a:r>
          </a:p>
          <a:p>
            <a:endParaRPr lang="en-US"/>
          </a:p>
        </p:txBody>
      </p:sp>
      <p:sp>
        <p:nvSpPr>
          <p:cNvPr id="4" name="Slide Number Placeholder 3"/>
          <p:cNvSpPr>
            <a:spLocks noGrp="1"/>
          </p:cNvSpPr>
          <p:nvPr>
            <p:ph type="sldNum" sz="quarter" idx="5"/>
          </p:nvPr>
        </p:nvSpPr>
        <p:spPr/>
        <p:txBody>
          <a:bodyPr/>
          <a:lstStyle/>
          <a:p>
            <a:fld id="{D70FF2E4-95BE-49CA-89E1-C2C428ECDA9A}" type="slidenum">
              <a:rPr lang="en-US" smtClean="0"/>
              <a:pPr/>
              <a:t>14</a:t>
            </a:fld>
            <a:endParaRPr lang="en-US"/>
          </a:p>
        </p:txBody>
      </p:sp>
    </p:spTree>
    <p:extLst>
      <p:ext uri="{BB962C8B-B14F-4D97-AF65-F5344CB8AC3E}">
        <p14:creationId xmlns:p14="http://schemas.microsoft.com/office/powerpoint/2010/main" val="26126917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b="1" i="1"/>
              <a:t>Présentez </a:t>
            </a:r>
            <a:r>
              <a:rPr b="0" i="0"/>
              <a:t>les informations qui se trouvent sur la diapositive. </a:t>
            </a:r>
          </a:p>
          <a:p>
            <a:endParaRPr lang="en-US"/>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a:p>
        </p:txBody>
      </p:sp>
    </p:spTree>
    <p:extLst>
      <p:ext uri="{BB962C8B-B14F-4D97-AF65-F5344CB8AC3E}">
        <p14:creationId xmlns:p14="http://schemas.microsoft.com/office/powerpoint/2010/main" val="24506926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b="1" i="1"/>
              <a:t>Présentez </a:t>
            </a:r>
            <a:r>
              <a:rPr b="0" i="0"/>
              <a:t>les informations qui se trouvent sur la diaposi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p>
          <a:p>
            <a:pPr marL="0" marR="0" lvl="0" indent="0" algn="l" defTabSz="914400" rtl="0" eaLnBrk="1" fontAlgn="auto" latinLnBrk="0" hangingPunct="1">
              <a:lnSpc>
                <a:spcPct val="100000"/>
              </a:lnSpc>
              <a:spcBef>
                <a:spcPts val="0"/>
              </a:spcBef>
              <a:spcAft>
                <a:spcPts val="0"/>
              </a:spcAft>
              <a:buClrTx/>
              <a:buSzTx/>
              <a:buFontTx/>
              <a:buNone/>
              <a:tabLst/>
              <a:defRPr/>
            </a:pPr>
            <a:r>
              <a:rPr b="1" i="1"/>
              <a:t>Remarques supplémentai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i="0" u="none" strike="noStrike" kern="1200">
                <a:solidFill>
                  <a:schemeClr val="tx1"/>
                </a:solidFill>
                <a:effectLst/>
                <a:latin typeface="+mn-lt"/>
                <a:ea typeface="+mn-ea"/>
                <a:cs typeface="+mn-cs"/>
              </a:rPr>
              <a:t>Lorsque des employés vivent un incident difficile, l'IRC suggère fortement le recours à un conseil psychologique dans le cadre de la SOP post-incid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i="0" u="none" strike="noStrike" kern="1200">
                <a:solidFill>
                  <a:schemeClr val="tx1"/>
                </a:solidFill>
                <a:effectLst/>
                <a:latin typeface="+mn-lt"/>
                <a:ea typeface="+mn-ea"/>
                <a:cs typeface="+mn-cs"/>
              </a:rPr>
              <a:t>Dans de nombreux cas, des employés qui ont vraiment besoin de ce service refusent d’y avoir recours car ils ne savent pas à quoi s’attendre et ne veulent pas avoir l’air « fous », en fonction de l'image du conseil psychologique au sein de leur cultu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i="0" u="none" strike="noStrike" kern="1200">
                <a:solidFill>
                  <a:schemeClr val="tx1"/>
                </a:solidFill>
                <a:effectLst/>
                <a:latin typeface="+mn-lt"/>
                <a:ea typeface="+mn-ea"/>
                <a:cs typeface="+mn-cs"/>
              </a:rPr>
              <a:t>Discutez de ce point et présentez les informations de la diapositive suivante sur les effets positifs du conseil psychologique dans le processus de rétablissement, en insistant sur le fait que tout le monde devrait avoir recours à un conseiller psychologue après un incident critique.</a:t>
            </a:r>
            <a:endParaRPr lang="en-US" b="0" i="0"/>
          </a:p>
          <a:p>
            <a:endParaRPr lang="en-US"/>
          </a:p>
        </p:txBody>
      </p:sp>
      <p:sp>
        <p:nvSpPr>
          <p:cNvPr id="4" name="Slide Number Placeholder 3"/>
          <p:cNvSpPr>
            <a:spLocks noGrp="1"/>
          </p:cNvSpPr>
          <p:nvPr>
            <p:ph type="sldNum" sz="quarter" idx="5"/>
          </p:nvPr>
        </p:nvSpPr>
        <p:spPr/>
        <p:txBody>
          <a:bodyPr/>
          <a:lstStyle/>
          <a:p>
            <a:fld id="{D70FF2E4-95BE-49CA-89E1-C2C428ECDA9A}" type="slidenum">
              <a:rPr lang="en-US" smtClean="0"/>
              <a:pPr/>
              <a:t>16</a:t>
            </a:fld>
            <a:endParaRPr lang="en-US"/>
          </a:p>
        </p:txBody>
      </p:sp>
    </p:spTree>
    <p:extLst>
      <p:ext uri="{BB962C8B-B14F-4D97-AF65-F5344CB8AC3E}">
        <p14:creationId xmlns:p14="http://schemas.microsoft.com/office/powerpoint/2010/main" val="18039047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Demandez aux participants : </a:t>
            </a:r>
            <a:r>
              <a:rPr sz="1200" b="0" i="0" kern="1200">
                <a:solidFill>
                  <a:schemeClr val="tx1"/>
                </a:solidFill>
                <a:effectLst/>
                <a:latin typeface="+mn-lt"/>
                <a:ea typeface="+mn-ea"/>
                <a:cs typeface="+mn-cs"/>
              </a:rPr>
              <a:t>Quelle est la cause du burnout ? </a:t>
            </a:r>
          </a:p>
          <a:p>
            <a:endParaRPr lang="en-US" sz="1200" b="0" i="0" kern="1200">
              <a:solidFill>
                <a:schemeClr val="tx1"/>
              </a:solidFill>
              <a:effectLst/>
              <a:latin typeface="+mn-lt"/>
              <a:ea typeface="+mn-ea"/>
              <a:cs typeface="+mn-cs"/>
            </a:endParaRPr>
          </a:p>
          <a:p>
            <a:r>
              <a:rPr sz="1200" b="1" i="1" kern="1200">
                <a:solidFill>
                  <a:schemeClr val="tx1"/>
                </a:solidFill>
                <a:effectLst/>
                <a:latin typeface="+mn-lt"/>
                <a:ea typeface="+mn-ea"/>
                <a:cs typeface="+mn-cs"/>
              </a:rPr>
              <a:t>Discutez</a:t>
            </a:r>
            <a:r>
              <a:rPr sz="1200" kern="1200">
                <a:solidFill>
                  <a:schemeClr val="tx1"/>
                </a:solidFill>
                <a:effectLst/>
                <a:latin typeface="+mn-lt"/>
                <a:ea typeface="+mn-ea"/>
                <a:cs typeface="+mn-cs"/>
              </a:rPr>
              <a:t> des contributions des participants.</a:t>
            </a:r>
            <a:r>
              <a:rPr>
                <a:effectLst/>
              </a:rPr>
              <a:t> </a:t>
            </a:r>
            <a:endParaRPr lang="en-US" sz="1200" b="0" i="0" kern="1200">
              <a:solidFill>
                <a:schemeClr val="tx1"/>
              </a:solidFill>
              <a:effectLst/>
              <a:latin typeface="+mn-lt"/>
              <a:ea typeface="+mn-ea"/>
              <a:cs typeface="+mn-cs"/>
            </a:endParaRPr>
          </a:p>
          <a:p>
            <a:endParaRPr lang="en-US" sz="12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a:p>
        </p:txBody>
      </p:sp>
    </p:spTree>
    <p:extLst>
      <p:ext uri="{BB962C8B-B14F-4D97-AF65-F5344CB8AC3E}">
        <p14:creationId xmlns:p14="http://schemas.microsoft.com/office/powerpoint/2010/main" val="22891371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0" indent="0">
              <a:buFont typeface="Arial" panose="020B0604020202020204" pitchFamily="34" charset="0"/>
              <a:buNone/>
            </a:pPr>
            <a:r>
              <a:rPr b="1" i="1"/>
              <a:t>Expliquez : </a:t>
            </a:r>
            <a:r>
              <a:t>Chaque conseiller psychologue est susceptible de commencer différemment la séance de conseil. Voici cependant quelques points qui devraient être abordés durant votre première séance (que ce soit en personne ou par téléphone).</a:t>
            </a:r>
          </a:p>
          <a:p>
            <a:pPr marL="0" indent="0">
              <a:buFont typeface="Arial" panose="020B0604020202020204" pitchFamily="34" charset="0"/>
              <a:buNone/>
            </a:pPr>
            <a:endParaRPr lang="en-US"/>
          </a:p>
          <a:p>
            <a:pPr marL="0" indent="0">
              <a:buFont typeface="Arial" panose="020B0604020202020204" pitchFamily="34" charset="0"/>
              <a:buNone/>
            </a:pPr>
            <a:r>
              <a:rPr b="1" i="1"/>
              <a:t>Présentez </a:t>
            </a:r>
            <a:r>
              <a:rPr b="0" i="0"/>
              <a:t>les informations qui figurent sur la diapositive.</a:t>
            </a:r>
          </a:p>
          <a:p>
            <a:pPr marL="0" indent="0">
              <a:buFont typeface="Arial" panose="020B0604020202020204" pitchFamily="34" charset="0"/>
              <a:buNone/>
            </a:pPr>
            <a:endParaRPr lang="en-US" b="0" i="0"/>
          </a:p>
          <a:p>
            <a:pPr marL="0" indent="0">
              <a:buFont typeface="Arial" panose="020B0604020202020204" pitchFamily="34" charset="0"/>
              <a:buNone/>
            </a:pPr>
            <a:r>
              <a:rPr b="1" i="1"/>
              <a:t>Ajoutez les points suivants :</a:t>
            </a:r>
          </a:p>
          <a:p>
            <a:pPr marL="0" indent="0">
              <a:buFont typeface="Arial" panose="020B0604020202020204" pitchFamily="34" charset="0"/>
              <a:buNone/>
            </a:pPr>
            <a:r>
              <a:rPr b="0" i="0"/>
              <a:t>Après votre première séance, vous devriez faire le point et vous poser les questions suivantes :</a:t>
            </a:r>
          </a:p>
          <a:p>
            <a:pPr marL="171450" indent="-171450">
              <a:buFont typeface="Arial" panose="020B0604020202020204" pitchFamily="34" charset="0"/>
              <a:buChar char="•"/>
            </a:pPr>
            <a:r>
              <a:rPr b="0" i="0"/>
              <a:t>Comment vous êtes-vous senti durant cette première séance ?</a:t>
            </a:r>
          </a:p>
          <a:p>
            <a:pPr marL="171450" indent="-171450">
              <a:buFont typeface="Arial" panose="020B0604020202020204" pitchFamily="34" charset="0"/>
              <a:buChar char="•"/>
            </a:pPr>
            <a:r>
              <a:rPr b="0" i="0"/>
              <a:t>Le courant est-il bien passé avec le conseiller psychologue ? Avez-vous eu l’impression qu'il vous écoutait attentivement et comprenait vos préoccupations et vos problèmes ?</a:t>
            </a:r>
          </a:p>
          <a:p>
            <a:pPr marL="171450" indent="-171450">
              <a:buFont typeface="Arial" panose="020B0604020202020204" pitchFamily="34" charset="0"/>
              <a:buChar char="•"/>
            </a:pPr>
            <a:r>
              <a:rPr b="0" i="0"/>
              <a:t>Avez-vous envie d’avoir une autre session avec ce conseiller psychologue ?</a:t>
            </a:r>
          </a:p>
          <a:p>
            <a:pPr marL="0" indent="0">
              <a:buFont typeface="Arial" panose="020B0604020202020204" pitchFamily="34" charset="0"/>
              <a:buNone/>
            </a:pPr>
            <a:endParaRPr lang="en-US" b="0" i="0"/>
          </a:p>
          <a:p>
            <a:pPr marL="0" indent="0">
              <a:buFont typeface="Arial" panose="020B0604020202020204" pitchFamily="34" charset="0"/>
              <a:buNone/>
            </a:pPr>
            <a:r>
              <a:rPr b="0" i="0"/>
              <a:t>Si vous n'éprouvez toujours pas un certain degré de confiance, de respect et de connexion après deux ou trois séances, il est judicieux d’envisager de changer de conseiller psychologue. Le conseil psychologique est un processus personnalisé. Pour qu'il fonctionne, les deux personnes doivent se faire confiance, se respecter, et éprouver un certain degré de connexion. Tous les conseillers psychologues ne vous conviendront pas forcément. N’hésitez pas à essayer un autre conseiller si vous avez le sentiment que le premier n’est pas le bon choix pour vous.</a:t>
            </a:r>
          </a:p>
          <a:p>
            <a:pPr marL="171450" indent="-171450">
              <a:buFont typeface="Arial" panose="020B0604020202020204" pitchFamily="34" charset="0"/>
              <a:buChar char="•"/>
            </a:pPr>
            <a:r>
              <a:rPr b="0" i="0"/>
              <a:t>Néanmoins... il est important de mentionner que nous ne devrions pas confondre « confiance, respect et connexion » avec « séance de conseil psychologique facile et confortable ». </a:t>
            </a:r>
          </a:p>
          <a:p>
            <a:pPr marL="171450" indent="-171450">
              <a:buFont typeface="Arial" panose="020B0604020202020204" pitchFamily="34" charset="0"/>
              <a:buChar char="•"/>
            </a:pPr>
            <a:r>
              <a:rPr b="0" i="0"/>
              <a:t>Souvent, lorsque quelqu'un nous pose de bonnes questions qui nous forcent à mener une réflexion approfondie, cela peut nous mettre mal à l’aise. N’écartez pas un conseiller psychologue en pensant qu'il « ne vous convient pas » avant de vous demander s'il ne vous force pas à réfléchir et à faire un travail sur vous-même que vous percevez comme difficile.</a:t>
            </a:r>
            <a:endParaRPr lang="en-US"/>
          </a:p>
          <a:p>
            <a:endParaRPr lang="en-US"/>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a:p>
        </p:txBody>
      </p:sp>
    </p:spTree>
    <p:extLst>
      <p:ext uri="{BB962C8B-B14F-4D97-AF65-F5344CB8AC3E}">
        <p14:creationId xmlns:p14="http://schemas.microsoft.com/office/powerpoint/2010/main" val="39589622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Passez en revue </a:t>
            </a:r>
            <a:r>
              <a:rPr b="0" i="0"/>
              <a:t>les informations de la diapositive qui présente des questions que vous pourriez vouloir poser à un conseiller psychologue avant ou durant votre première séance. </a:t>
            </a:r>
          </a:p>
          <a:p>
            <a:pPr marL="171450" indent="-171450">
              <a:buFont typeface="Arial" panose="020B0604020202020204" pitchFamily="34" charset="0"/>
              <a:buChar char="•"/>
            </a:pPr>
            <a:r>
              <a:rPr b="0" i="0"/>
              <a:t>Si un conseiller psychologue refuse de répondre à ces questions, c’est peut-être un signe qu'il n’est pas le meilleur conseiller pour vous. </a:t>
            </a:r>
            <a:endParaRPr lang="en-US" b="1" i="1"/>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a:p>
        </p:txBody>
      </p:sp>
    </p:spTree>
    <p:extLst>
      <p:ext uri="{BB962C8B-B14F-4D97-AF65-F5344CB8AC3E}">
        <p14:creationId xmlns:p14="http://schemas.microsoft.com/office/powerpoint/2010/main" val="3738285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1</a:t>
            </a:fld>
            <a:endParaRPr lang="en-US"/>
          </a:p>
        </p:txBody>
      </p:sp>
    </p:spTree>
    <p:extLst>
      <p:ext uri="{BB962C8B-B14F-4D97-AF65-F5344CB8AC3E}">
        <p14:creationId xmlns:p14="http://schemas.microsoft.com/office/powerpoint/2010/main" val="3508997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sz="1200" b="1" i="1" kern="1200">
                <a:solidFill>
                  <a:schemeClr val="tx1"/>
                </a:solidFill>
                <a:effectLst/>
                <a:latin typeface="+mn-lt"/>
                <a:ea typeface="+mn-ea"/>
                <a:cs typeface="+mn-cs"/>
              </a:rPr>
              <a:t>Passez en revue</a:t>
            </a:r>
            <a:r>
              <a:rPr sz="1200" kern="1200">
                <a:solidFill>
                  <a:schemeClr val="tx1"/>
                </a:solidFill>
                <a:effectLst/>
                <a:latin typeface="+mn-lt"/>
                <a:ea typeface="+mn-ea"/>
                <a:cs typeface="+mn-cs"/>
              </a:rPr>
              <a:t> les questions importantes dont vous voulez discuter ensemble.</a:t>
            </a:r>
          </a:p>
          <a:p>
            <a:endParaRPr lang="en-US"/>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Expliquez </a:t>
            </a:r>
            <a:r>
              <a:rPr sz="1200" kern="1200">
                <a:solidFill>
                  <a:schemeClr val="tx1"/>
                </a:solidFill>
                <a:effectLst/>
                <a:latin typeface="+mn-lt"/>
                <a:ea typeface="+mn-ea"/>
                <a:cs typeface="+mn-cs"/>
              </a:rPr>
              <a:t>comment les ressources et services du programme Devoir de protection peuvent aider à gérer un burnou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Ils comprennent les services KonTerra (</a:t>
            </a:r>
            <a:r>
              <a:rPr sz="1200" u="sng" kern="1200">
                <a:solidFill>
                  <a:schemeClr val="tx1"/>
                </a:solidFill>
                <a:effectLst/>
                <a:latin typeface="+mn-lt"/>
                <a:ea typeface="+mn-ea"/>
                <a:cs typeface="+mn-cs"/>
                <a:hlinkClick r:id="rId3"/>
              </a:rPr>
              <a:t>EARP</a:t>
            </a:r>
            <a:r>
              <a:rPr sz="1200" kern="1200">
                <a:solidFill>
                  <a:schemeClr val="tx1"/>
                </a:solidFill>
                <a:effectLst/>
                <a:latin typeface="+mn-lt"/>
                <a:ea typeface="+mn-ea"/>
                <a:cs typeface="+mn-cs"/>
              </a:rPr>
              <a:t>, </a:t>
            </a:r>
            <a:r>
              <a:rPr sz="1200" u="sng" kern="1200">
                <a:solidFill>
                  <a:schemeClr val="tx1"/>
                </a:solidFill>
                <a:effectLst/>
                <a:latin typeface="+mn-lt"/>
                <a:ea typeface="+mn-ea"/>
                <a:cs typeface="+mn-cs"/>
                <a:hlinkClick r:id="rId4"/>
              </a:rPr>
              <a:t>Consultations du manager</a:t>
            </a:r>
            <a:r>
              <a:rPr sz="1200" kern="1200">
                <a:solidFill>
                  <a:schemeClr val="tx1"/>
                </a:solidFill>
                <a:effectLst/>
                <a:latin typeface="+mn-lt"/>
                <a:ea typeface="+mn-ea"/>
                <a:cs typeface="+mn-cs"/>
              </a:rPr>
              <a:t>, </a:t>
            </a:r>
            <a:r>
              <a:rPr sz="1200" u="sng" kern="1200">
                <a:solidFill>
                  <a:schemeClr val="tx1"/>
                </a:solidFill>
                <a:effectLst/>
                <a:latin typeface="+mn-lt"/>
                <a:ea typeface="+mn-ea"/>
                <a:cs typeface="+mn-cs"/>
                <a:hlinkClick r:id="rId5"/>
              </a:rPr>
              <a:t>Planification personnalisée de la résilience</a:t>
            </a:r>
            <a:r>
              <a:rPr sz="1200" kern="1200">
                <a:solidFill>
                  <a:schemeClr val="tx1"/>
                </a:solidFill>
                <a:effectLst/>
                <a:latin typeface="+mn-lt"/>
                <a:ea typeface="+mn-ea"/>
                <a:cs typeface="+mn-cs"/>
              </a:rPr>
              <a:t>) et des ressources pédagogiques (</a:t>
            </a:r>
            <a:r>
              <a:rPr sz="1200" u="sng" kern="1200">
                <a:solidFill>
                  <a:schemeClr val="tx1"/>
                </a:solidFill>
                <a:effectLst/>
                <a:latin typeface="+mn-lt"/>
                <a:ea typeface="+mn-ea"/>
                <a:cs typeface="+mn-cs"/>
                <a:hlinkClick r:id="rId6"/>
              </a:rPr>
              <a:t>page internet du Devoir de protection</a:t>
            </a:r>
            <a:r>
              <a:rPr sz="1200" kern="1200">
                <a:solidFill>
                  <a:schemeClr val="tx1"/>
                </a:solidFill>
                <a:effectLst/>
                <a:latin typeface="+mn-lt"/>
                <a:ea typeface="+mn-ea"/>
                <a:cs typeface="+mn-cs"/>
              </a:rPr>
              <a:t>).  </a:t>
            </a:r>
            <a:endParaRPr lang="en-US" sz="1200" b="0" i="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Utilisez les diapositives suivantes </a:t>
            </a:r>
            <a:r>
              <a:rPr sz="1200" b="0" i="0" kern="1200">
                <a:solidFill>
                  <a:schemeClr val="tx1"/>
                </a:solidFill>
                <a:effectLst/>
                <a:latin typeface="+mn-lt"/>
                <a:ea typeface="+mn-ea"/>
                <a:cs typeface="+mn-cs"/>
              </a:rPr>
              <a:t>pour expliquer comment un membre du personnel peut programmer une séance avec un conseiller psychologue KonTerra. </a:t>
            </a:r>
            <a:r>
              <a:rPr sz="1200" b="1" i="1" kern="1200">
                <a:solidFill>
                  <a:schemeClr val="tx1"/>
                </a:solidFill>
                <a:effectLst/>
                <a:latin typeface="+mn-lt"/>
                <a:ea typeface="+mn-ea"/>
                <a:cs typeface="+mn-cs"/>
              </a:rPr>
              <a:t> </a:t>
            </a:r>
          </a:p>
          <a:p>
            <a:pPr lvl="0"/>
            <a:endParaRPr lang="en-US" sz="1200" b="1" i="1"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a:p>
        </p:txBody>
      </p:sp>
    </p:spTree>
    <p:extLst>
      <p:ext uri="{BB962C8B-B14F-4D97-AF65-F5344CB8AC3E}">
        <p14:creationId xmlns:p14="http://schemas.microsoft.com/office/powerpoint/2010/main" val="23480204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70FF2E4-95BE-49CA-89E1-C2C428ECDA9A}" type="slidenum">
              <a:rPr lang="en-US" smtClean="0"/>
              <a:pPr/>
              <a:t>23</a:t>
            </a:fld>
            <a:endParaRPr lang="en-US"/>
          </a:p>
        </p:txBody>
      </p:sp>
    </p:spTree>
    <p:extLst>
      <p:ext uri="{BB962C8B-B14F-4D97-AF65-F5344CB8AC3E}">
        <p14:creationId xmlns:p14="http://schemas.microsoft.com/office/powerpoint/2010/main" val="36162144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70FF2E4-95BE-49CA-89E1-C2C428ECDA9A}" type="slidenum">
              <a:rPr lang="en-US" smtClean="0"/>
              <a:pPr/>
              <a:t>24</a:t>
            </a:fld>
            <a:endParaRPr lang="en-US"/>
          </a:p>
        </p:txBody>
      </p:sp>
    </p:spTree>
    <p:extLst>
      <p:ext uri="{BB962C8B-B14F-4D97-AF65-F5344CB8AC3E}">
        <p14:creationId xmlns:p14="http://schemas.microsoft.com/office/powerpoint/2010/main" val="12816085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Si le temps le permet et que le groupe semble ouvert à cette idée, réalisez l’exercice de réflexion </a:t>
            </a:r>
            <a:r>
              <a:rPr sz="1200" kern="1200">
                <a:solidFill>
                  <a:schemeClr val="tx1"/>
                </a:solidFill>
                <a:effectLst/>
                <a:latin typeface="+mn-lt"/>
                <a:ea typeface="+mn-ea"/>
                <a:cs typeface="+mn-cs"/>
              </a:rPr>
              <a:t>qui figure sur la diapositive suivante. Sinon, sautez cette diapositive et passez directement à la diapositive sur les principales leçons à retenir.</a:t>
            </a:r>
          </a:p>
          <a:p>
            <a:endParaRPr lang="en-US"/>
          </a:p>
        </p:txBody>
      </p:sp>
      <p:sp>
        <p:nvSpPr>
          <p:cNvPr id="4" name="Slide Number Placeholder 3"/>
          <p:cNvSpPr>
            <a:spLocks noGrp="1"/>
          </p:cNvSpPr>
          <p:nvPr>
            <p:ph type="sldNum" sz="quarter" idx="5"/>
          </p:nvPr>
        </p:nvSpPr>
        <p:spPr/>
        <p:txBody>
          <a:bodyPr/>
          <a:lstStyle/>
          <a:p>
            <a:fld id="{D70FF2E4-95BE-49CA-89E1-C2C428ECDA9A}" type="slidenum">
              <a:rPr lang="en-US" smtClean="0"/>
              <a:pPr/>
              <a:t>25</a:t>
            </a:fld>
            <a:endParaRPr lang="en-US"/>
          </a:p>
        </p:txBody>
      </p:sp>
    </p:spTree>
    <p:extLst>
      <p:ext uri="{BB962C8B-B14F-4D97-AF65-F5344CB8AC3E}">
        <p14:creationId xmlns:p14="http://schemas.microsoft.com/office/powerpoint/2010/main" val="33622173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b="1" i="1"/>
              <a:t>Si le temps le permet, </a:t>
            </a:r>
            <a:r>
              <a:rPr b="0" i="0"/>
              <a:t>faites faire au groupe un bref exercice de réflex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p>
          <a:p>
            <a:pPr marL="0" marR="0" lvl="0" indent="0" algn="l" defTabSz="914400" rtl="0" eaLnBrk="1" fontAlgn="auto" latinLnBrk="0" hangingPunct="1">
              <a:lnSpc>
                <a:spcPct val="100000"/>
              </a:lnSpc>
              <a:spcBef>
                <a:spcPts val="0"/>
              </a:spcBef>
              <a:spcAft>
                <a:spcPts val="0"/>
              </a:spcAft>
              <a:buClrTx/>
              <a:buSzTx/>
              <a:buFontTx/>
              <a:buNone/>
              <a:tabLst/>
              <a:defRPr/>
            </a:pPr>
            <a:r>
              <a:rPr b="1" i="1"/>
              <a:t>Dites aux participants </a:t>
            </a:r>
            <a:r>
              <a:rPr b="0" i="0"/>
              <a:t>de réfléchir à ces questions et de prendre des notes pour eux-mêmes. Dites-leur que vous ne leur demanderez PAS de partager leur réponse avec quiconqu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p>
          <a:p>
            <a:pPr marL="0" marR="0" lvl="0" indent="0" algn="l" defTabSz="914400" rtl="0" eaLnBrk="1" fontAlgn="auto" latinLnBrk="0" hangingPunct="1">
              <a:lnSpc>
                <a:spcPct val="100000"/>
              </a:lnSpc>
              <a:spcBef>
                <a:spcPts val="0"/>
              </a:spcBef>
              <a:spcAft>
                <a:spcPts val="0"/>
              </a:spcAft>
              <a:buClrTx/>
              <a:buSzTx/>
              <a:buFontTx/>
              <a:buNone/>
              <a:tabLst/>
              <a:defRPr/>
            </a:pPr>
            <a:r>
              <a:rPr b="1" i="1"/>
              <a:t>Présentez </a:t>
            </a:r>
            <a:r>
              <a:rPr b="0" i="0"/>
              <a:t>les questions de réflexion aux particip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b="0" i="0"/>
              <a:t>Laissez quelques minutes aux participants pour réfléchir à la première série de questions et prendre des notes avant de présenter la secon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b="0" i="0"/>
              <a:t>Après avoir laissé aux participants le temps de prendre des notes en réponse à la seconde question, passez à la dernière diapositive sur les principales leçons à reteni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b="0" i="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p>
          <a:p>
            <a:endParaRPr lang="en-US"/>
          </a:p>
        </p:txBody>
      </p:sp>
      <p:sp>
        <p:nvSpPr>
          <p:cNvPr id="4" name="Slide Number Placeholder 3"/>
          <p:cNvSpPr>
            <a:spLocks noGrp="1"/>
          </p:cNvSpPr>
          <p:nvPr>
            <p:ph type="sldNum" sz="quarter" idx="5"/>
          </p:nvPr>
        </p:nvSpPr>
        <p:spPr/>
        <p:txBody>
          <a:bodyPr/>
          <a:lstStyle/>
          <a:p>
            <a:fld id="{D70FF2E4-95BE-49CA-89E1-C2C428ECDA9A}" type="slidenum">
              <a:rPr lang="en-US" smtClean="0"/>
              <a:pPr/>
              <a:t>27</a:t>
            </a:fld>
            <a:endParaRPr lang="en-US"/>
          </a:p>
        </p:txBody>
      </p:sp>
    </p:spTree>
    <p:extLst>
      <p:ext uri="{BB962C8B-B14F-4D97-AF65-F5344CB8AC3E}">
        <p14:creationId xmlns:p14="http://schemas.microsoft.com/office/powerpoint/2010/main" val="40910655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Présentez les </a:t>
            </a:r>
            <a:r>
              <a:rPr b="0" i="0"/>
              <a:t>principales leçons à retenir et utilisez-les pour mettre l’accent sur les messages fondamentaux.</a:t>
            </a:r>
          </a:p>
          <a:p>
            <a:endParaRPr lang="en-US" b="0" i="0"/>
          </a:p>
          <a:p>
            <a:r>
              <a:rPr b="1" i="1"/>
              <a:t>Demandez </a:t>
            </a:r>
            <a:r>
              <a:rPr b="0" i="0"/>
              <a:t>si quelqu'un a des questions ou des commentaires. </a:t>
            </a:r>
          </a:p>
          <a:p>
            <a:endParaRPr lang="en-US" b="0" i="0"/>
          </a:p>
          <a:p>
            <a:r>
              <a:rPr b="1" i="1"/>
              <a:t>Remerciez les participants </a:t>
            </a:r>
            <a:r>
              <a:rPr b="0" i="0"/>
              <a:t>et </a:t>
            </a:r>
            <a:r>
              <a:rPr b="1" i="1"/>
              <a:t>clôturez la session. </a:t>
            </a:r>
          </a:p>
        </p:txBody>
      </p:sp>
      <p:sp>
        <p:nvSpPr>
          <p:cNvPr id="4" name="Slide Number Placeholder 3"/>
          <p:cNvSpPr>
            <a:spLocks noGrp="1"/>
          </p:cNvSpPr>
          <p:nvPr>
            <p:ph type="sldNum" sz="quarter" idx="5"/>
          </p:nvPr>
        </p:nvSpPr>
        <p:spPr/>
        <p:txBody>
          <a:bodyPr/>
          <a:lstStyle/>
          <a:p>
            <a:fld id="{D70FF2E4-95BE-49CA-89E1-C2C428ECDA9A}" type="slidenum">
              <a:rPr lang="en-US" smtClean="0"/>
              <a:pPr/>
              <a:t>28</a:t>
            </a:fld>
            <a:endParaRPr lang="en-US"/>
          </a:p>
        </p:txBody>
      </p:sp>
    </p:spTree>
    <p:extLst>
      <p:ext uri="{BB962C8B-B14F-4D97-AF65-F5344CB8AC3E}">
        <p14:creationId xmlns:p14="http://schemas.microsoft.com/office/powerpoint/2010/main" val="3147429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err="1">
                <a:solidFill>
                  <a:schemeClr val="tx1"/>
                </a:solidFill>
                <a:effectLst/>
                <a:latin typeface="+mn-lt"/>
                <a:ea typeface="+mn-ea"/>
                <a:cs typeface="+mn-cs"/>
              </a:rPr>
              <a:t>Demandez</a:t>
            </a:r>
            <a:r>
              <a:rPr sz="1200" b="1" i="1" kern="1200">
                <a:solidFill>
                  <a:schemeClr val="tx1"/>
                </a:solidFill>
                <a:effectLst/>
                <a:latin typeface="+mn-lt"/>
                <a:ea typeface="+mn-ea"/>
                <a:cs typeface="+mn-cs"/>
              </a:rPr>
              <a:t> aux participants : </a:t>
            </a:r>
            <a:r>
              <a:rPr sz="1200" b="0" i="0" kern="1200" err="1">
                <a:solidFill>
                  <a:schemeClr val="tx1"/>
                </a:solidFill>
                <a:effectLst/>
                <a:latin typeface="+mn-lt"/>
                <a:ea typeface="+mn-ea"/>
                <a:cs typeface="+mn-cs"/>
              </a:rPr>
              <a:t>Quels</a:t>
            </a:r>
            <a:r>
              <a:rPr sz="1200" b="0" i="0" kern="1200">
                <a:solidFill>
                  <a:schemeClr val="tx1"/>
                </a:solidFill>
                <a:effectLst/>
                <a:latin typeface="+mn-lt"/>
                <a:ea typeface="+mn-ea"/>
                <a:cs typeface="+mn-cs"/>
              </a:rPr>
              <a:t> mots </a:t>
            </a:r>
            <a:r>
              <a:rPr sz="1200" b="0" i="0" kern="1200" err="1">
                <a:solidFill>
                  <a:schemeClr val="tx1"/>
                </a:solidFill>
                <a:effectLst/>
                <a:latin typeface="+mn-lt"/>
                <a:ea typeface="+mn-ea"/>
                <a:cs typeface="+mn-cs"/>
              </a:rPr>
              <a:t>ou</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quelles</a:t>
            </a:r>
            <a:r>
              <a:rPr sz="1200" b="0" i="0" kern="1200">
                <a:solidFill>
                  <a:schemeClr val="tx1"/>
                </a:solidFill>
                <a:effectLst/>
                <a:latin typeface="+mn-lt"/>
                <a:ea typeface="+mn-ea"/>
                <a:cs typeface="+mn-cs"/>
              </a:rPr>
              <a:t> images </a:t>
            </a:r>
            <a:r>
              <a:rPr sz="1200" b="0" i="0" kern="1200" err="1">
                <a:solidFill>
                  <a:schemeClr val="tx1"/>
                </a:solidFill>
                <a:effectLst/>
                <a:latin typeface="+mn-lt"/>
                <a:ea typeface="+mn-ea"/>
                <a:cs typeface="+mn-cs"/>
              </a:rPr>
              <a:t>vous</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viennent</a:t>
            </a:r>
            <a:r>
              <a:rPr sz="1200" b="0" i="0" kern="1200">
                <a:solidFill>
                  <a:schemeClr val="tx1"/>
                </a:solidFill>
                <a:effectLst/>
                <a:latin typeface="+mn-lt"/>
                <a:ea typeface="+mn-ea"/>
                <a:cs typeface="+mn-cs"/>
              </a:rPr>
              <a:t> à </a:t>
            </a:r>
            <a:r>
              <a:rPr sz="1200" b="0" i="0" kern="1200" err="1">
                <a:solidFill>
                  <a:schemeClr val="tx1"/>
                </a:solidFill>
                <a:effectLst/>
                <a:latin typeface="+mn-lt"/>
                <a:ea typeface="+mn-ea"/>
                <a:cs typeface="+mn-cs"/>
              </a:rPr>
              <a:t>l'esprit</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lorsque</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vous</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entendez</a:t>
            </a:r>
            <a:r>
              <a:rPr sz="1200" b="0" i="0" kern="1200">
                <a:solidFill>
                  <a:schemeClr val="tx1"/>
                </a:solidFill>
                <a:effectLst/>
                <a:latin typeface="+mn-lt"/>
                <a:ea typeface="+mn-ea"/>
                <a:cs typeface="+mn-cs"/>
              </a:rPr>
              <a:t> le </a:t>
            </a:r>
            <a:r>
              <a:rPr sz="1200" b="0" i="0" kern="1200" err="1">
                <a:solidFill>
                  <a:schemeClr val="tx1"/>
                </a:solidFill>
                <a:effectLst/>
                <a:latin typeface="+mn-lt"/>
                <a:ea typeface="+mn-ea"/>
                <a:cs typeface="+mn-cs"/>
              </a:rPr>
              <a:t>terme</a:t>
            </a:r>
            <a:r>
              <a:rPr sz="1200" b="0" i="0" kern="1200">
                <a:solidFill>
                  <a:schemeClr val="tx1"/>
                </a:solidFill>
                <a:effectLst/>
                <a:latin typeface="+mn-lt"/>
                <a:ea typeface="+mn-ea"/>
                <a:cs typeface="+mn-cs"/>
              </a:rPr>
              <a:t> « </a:t>
            </a:r>
            <a:r>
              <a:rPr sz="1200" b="0" i="0" kern="1200" err="1">
                <a:solidFill>
                  <a:schemeClr val="tx1"/>
                </a:solidFill>
                <a:effectLst/>
                <a:latin typeface="+mn-lt"/>
                <a:ea typeface="+mn-ea"/>
                <a:cs typeface="+mn-cs"/>
              </a:rPr>
              <a:t>conseil</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psychologique</a:t>
            </a:r>
            <a:r>
              <a:rPr sz="1200" b="0" i="0" kern="1200">
                <a:solidFill>
                  <a:schemeClr val="tx1"/>
                </a:solidFill>
                <a:effectLst/>
                <a:latin typeface="+mn-lt"/>
                <a:ea typeface="+mn-ea"/>
                <a:cs typeface="+mn-cs"/>
              </a:rPr>
              <a:t> » ?</a:t>
            </a:r>
          </a:p>
          <a:p>
            <a:endParaRPr lang="en-US" sz="1200" b="0" i="0" kern="1200">
              <a:solidFill>
                <a:schemeClr val="tx1"/>
              </a:solidFill>
              <a:effectLst/>
              <a:latin typeface="+mn-lt"/>
              <a:ea typeface="+mn-ea"/>
              <a:cs typeface="+mn-cs"/>
            </a:endParaRPr>
          </a:p>
          <a:p>
            <a:r>
              <a:rPr sz="1200" b="1" i="1" kern="1200" err="1">
                <a:solidFill>
                  <a:schemeClr val="tx1"/>
                </a:solidFill>
                <a:effectLst/>
                <a:latin typeface="+mn-lt"/>
                <a:ea typeface="+mn-ea"/>
                <a:cs typeface="+mn-cs"/>
              </a:rPr>
              <a:t>Discutez</a:t>
            </a:r>
            <a:r>
              <a:rPr sz="1200" b="0" i="0" kern="1200">
                <a:solidFill>
                  <a:schemeClr val="tx1"/>
                </a:solidFill>
                <a:effectLst/>
                <a:latin typeface="+mn-lt"/>
                <a:ea typeface="+mn-ea"/>
                <a:cs typeface="+mn-cs"/>
              </a:rPr>
              <a:t> des contributions des participants et </a:t>
            </a:r>
            <a:r>
              <a:rPr sz="1200" b="0" i="0" kern="1200" err="1">
                <a:solidFill>
                  <a:schemeClr val="tx1"/>
                </a:solidFill>
                <a:effectLst/>
                <a:latin typeface="+mn-lt"/>
                <a:ea typeface="+mn-ea"/>
                <a:cs typeface="+mn-cs"/>
              </a:rPr>
              <a:t>notez</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tous</a:t>
            </a:r>
            <a:r>
              <a:rPr sz="1200" b="0" i="0" kern="1200">
                <a:solidFill>
                  <a:schemeClr val="tx1"/>
                </a:solidFill>
                <a:effectLst/>
                <a:latin typeface="+mn-lt"/>
                <a:ea typeface="+mn-ea"/>
                <a:cs typeface="+mn-cs"/>
              </a:rPr>
              <a:t> les </a:t>
            </a:r>
            <a:r>
              <a:rPr sz="1200" b="0" i="0" kern="1200" err="1">
                <a:solidFill>
                  <a:schemeClr val="tx1"/>
                </a:solidFill>
                <a:effectLst/>
                <a:latin typeface="+mn-lt"/>
                <a:ea typeface="+mn-ea"/>
                <a:cs typeface="+mn-cs"/>
              </a:rPr>
              <a:t>thèmes</a:t>
            </a:r>
            <a:r>
              <a:rPr sz="1200" b="0" i="0" kern="1200">
                <a:solidFill>
                  <a:schemeClr val="tx1"/>
                </a:solidFill>
                <a:effectLst/>
                <a:latin typeface="+mn-lt"/>
                <a:ea typeface="+mn-ea"/>
                <a:cs typeface="+mn-cs"/>
              </a:rPr>
              <a:t> (on </a:t>
            </a:r>
            <a:r>
              <a:rPr sz="1200" b="0" i="0" kern="1200" err="1">
                <a:solidFill>
                  <a:schemeClr val="tx1"/>
                </a:solidFill>
                <a:effectLst/>
                <a:latin typeface="+mn-lt"/>
                <a:ea typeface="+mn-ea"/>
                <a:cs typeface="+mn-cs"/>
              </a:rPr>
              <a:t>peut</a:t>
            </a:r>
            <a:r>
              <a:rPr sz="1200" b="0" i="0" kern="1200">
                <a:solidFill>
                  <a:schemeClr val="tx1"/>
                </a:solidFill>
                <a:effectLst/>
                <a:latin typeface="+mn-lt"/>
                <a:ea typeface="+mn-ea"/>
                <a:cs typeface="+mn-cs"/>
              </a:rPr>
              <a:t> citer, entre </a:t>
            </a:r>
            <a:r>
              <a:rPr sz="1200" b="0" i="0" kern="1200" err="1">
                <a:solidFill>
                  <a:schemeClr val="tx1"/>
                </a:solidFill>
                <a:effectLst/>
                <a:latin typeface="+mn-lt"/>
                <a:ea typeface="+mn-ea"/>
                <a:cs typeface="+mn-cs"/>
              </a:rPr>
              <a:t>autre</a:t>
            </a:r>
            <a:r>
              <a:rPr sz="1200" b="0" i="0" kern="1200">
                <a:solidFill>
                  <a:schemeClr val="tx1"/>
                </a:solidFill>
                <a:effectLst/>
                <a:latin typeface="+mn-lt"/>
                <a:ea typeface="+mn-ea"/>
                <a:cs typeface="+mn-cs"/>
              </a:rPr>
              <a:t> contributions : discussion, </a:t>
            </a:r>
            <a:r>
              <a:rPr sz="1200" b="0" i="0" kern="1200" err="1">
                <a:solidFill>
                  <a:schemeClr val="tx1"/>
                </a:solidFill>
                <a:effectLst/>
                <a:latin typeface="+mn-lt"/>
                <a:ea typeface="+mn-ea"/>
                <a:cs typeface="+mn-cs"/>
              </a:rPr>
              <a:t>thérapie</a:t>
            </a:r>
            <a:r>
              <a:rPr sz="1200" b="0" i="0" kern="1200">
                <a:solidFill>
                  <a:schemeClr val="tx1"/>
                </a:solidFill>
                <a:effectLst/>
                <a:latin typeface="+mn-lt"/>
                <a:ea typeface="+mn-ea"/>
                <a:cs typeface="+mn-cs"/>
              </a:rPr>
              <a:t>, aidant, </a:t>
            </a:r>
            <a:r>
              <a:rPr sz="1200" b="0" i="0" kern="1200" err="1">
                <a:solidFill>
                  <a:schemeClr val="tx1"/>
                </a:solidFill>
                <a:effectLst/>
                <a:latin typeface="+mn-lt"/>
                <a:ea typeface="+mn-ea"/>
                <a:cs typeface="+mn-cs"/>
              </a:rPr>
              <a:t>maladie</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mentale</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fou</a:t>
            </a:r>
            <a:r>
              <a:rPr sz="1200" b="0" i="0" kern="1200">
                <a:solidFill>
                  <a:schemeClr val="tx1"/>
                </a:solidFill>
                <a:effectLst/>
                <a:latin typeface="+mn-lt"/>
                <a:ea typeface="+mn-ea"/>
                <a:cs typeface="+mn-cs"/>
              </a:rPr>
              <a:t>...)</a:t>
            </a:r>
          </a:p>
          <a:p>
            <a:endParaRPr lang="en-US" sz="1200" b="0" i="0" kern="1200">
              <a:solidFill>
                <a:schemeClr val="tx1"/>
              </a:solidFill>
              <a:effectLst/>
              <a:latin typeface="+mn-lt"/>
              <a:ea typeface="+mn-ea"/>
              <a:cs typeface="+mn-cs"/>
            </a:endParaRPr>
          </a:p>
          <a:p>
            <a:r>
              <a:rPr sz="1200" b="1" i="1" kern="1200">
                <a:solidFill>
                  <a:schemeClr val="tx1"/>
                </a:solidFill>
                <a:effectLst/>
                <a:latin typeface="+mn-lt"/>
                <a:ea typeface="+mn-ea"/>
                <a:cs typeface="+mn-cs"/>
              </a:rPr>
              <a:t>Si </a:t>
            </a:r>
            <a:r>
              <a:rPr sz="1200" b="1" i="1" kern="1200" err="1">
                <a:solidFill>
                  <a:schemeClr val="tx1"/>
                </a:solidFill>
                <a:effectLst/>
                <a:latin typeface="+mn-lt"/>
                <a:ea typeface="+mn-ea"/>
                <a:cs typeface="+mn-cs"/>
              </a:rPr>
              <a:t>personne</a:t>
            </a:r>
            <a:r>
              <a:rPr sz="1200" b="1" i="1" kern="1200">
                <a:solidFill>
                  <a:schemeClr val="tx1"/>
                </a:solidFill>
                <a:effectLst/>
                <a:latin typeface="+mn-lt"/>
                <a:ea typeface="+mn-ea"/>
                <a:cs typeface="+mn-cs"/>
              </a:rPr>
              <a:t> </a:t>
            </a:r>
            <a:r>
              <a:rPr sz="1200" b="1" i="1" kern="1200" err="1">
                <a:solidFill>
                  <a:schemeClr val="tx1"/>
                </a:solidFill>
                <a:effectLst/>
                <a:latin typeface="+mn-lt"/>
                <a:ea typeface="+mn-ea"/>
                <a:cs typeface="+mn-cs"/>
              </a:rPr>
              <a:t>n’est</a:t>
            </a:r>
            <a:r>
              <a:rPr sz="1200" b="1" i="1" kern="1200">
                <a:solidFill>
                  <a:schemeClr val="tx1"/>
                </a:solidFill>
                <a:effectLst/>
                <a:latin typeface="+mn-lt"/>
                <a:ea typeface="+mn-ea"/>
                <a:cs typeface="+mn-cs"/>
              </a:rPr>
              <a:t> </a:t>
            </a:r>
            <a:r>
              <a:rPr sz="1200" b="1" i="1" kern="1200" err="1">
                <a:solidFill>
                  <a:schemeClr val="tx1"/>
                </a:solidFill>
                <a:effectLst/>
                <a:latin typeface="+mn-lt"/>
                <a:ea typeface="+mn-ea"/>
                <a:cs typeface="+mn-cs"/>
              </a:rPr>
              <a:t>disposé</a:t>
            </a:r>
            <a:r>
              <a:rPr sz="1200" b="1" i="1" kern="1200">
                <a:solidFill>
                  <a:schemeClr val="tx1"/>
                </a:solidFill>
                <a:effectLst/>
                <a:latin typeface="+mn-lt"/>
                <a:ea typeface="+mn-ea"/>
                <a:cs typeface="+mn-cs"/>
              </a:rPr>
              <a:t> à </a:t>
            </a:r>
            <a:r>
              <a:rPr sz="1200" b="1" i="1" kern="1200" err="1">
                <a:solidFill>
                  <a:schemeClr val="tx1"/>
                </a:solidFill>
                <a:effectLst/>
                <a:latin typeface="+mn-lt"/>
                <a:ea typeface="+mn-ea"/>
                <a:cs typeface="+mn-cs"/>
              </a:rPr>
              <a:t>partager</a:t>
            </a:r>
            <a:r>
              <a:rPr sz="1200" b="1" i="1" kern="1200">
                <a:solidFill>
                  <a:schemeClr val="tx1"/>
                </a:solidFill>
                <a:effectLst/>
                <a:latin typeface="+mn-lt"/>
                <a:ea typeface="+mn-ea"/>
                <a:cs typeface="+mn-cs"/>
              </a:rPr>
              <a:t> un mot </a:t>
            </a:r>
            <a:r>
              <a:rPr sz="1200" b="1" i="1" kern="1200" err="1">
                <a:solidFill>
                  <a:schemeClr val="tx1"/>
                </a:solidFill>
                <a:effectLst/>
                <a:latin typeface="+mn-lt"/>
                <a:ea typeface="+mn-ea"/>
                <a:cs typeface="+mn-cs"/>
              </a:rPr>
              <a:t>ou</a:t>
            </a:r>
            <a:r>
              <a:rPr sz="1200" b="1" i="1" kern="1200">
                <a:solidFill>
                  <a:schemeClr val="tx1"/>
                </a:solidFill>
                <a:effectLst/>
                <a:latin typeface="+mn-lt"/>
                <a:ea typeface="+mn-ea"/>
                <a:cs typeface="+mn-cs"/>
              </a:rPr>
              <a:t> </a:t>
            </a:r>
            <a:r>
              <a:rPr sz="1200" b="1" i="1" kern="1200" err="1">
                <a:solidFill>
                  <a:schemeClr val="tx1"/>
                </a:solidFill>
                <a:effectLst/>
                <a:latin typeface="+mn-lt"/>
                <a:ea typeface="+mn-ea"/>
                <a:cs typeface="+mn-cs"/>
              </a:rPr>
              <a:t>une</a:t>
            </a:r>
            <a:r>
              <a:rPr sz="1200" b="1" i="1" kern="1200">
                <a:solidFill>
                  <a:schemeClr val="tx1"/>
                </a:solidFill>
                <a:effectLst/>
                <a:latin typeface="+mn-lt"/>
                <a:ea typeface="+mn-ea"/>
                <a:cs typeface="+mn-cs"/>
              </a:rPr>
              <a:t> image, </a:t>
            </a:r>
            <a:r>
              <a:rPr sz="1200" b="0" i="0" kern="1200" err="1">
                <a:solidFill>
                  <a:schemeClr val="tx1"/>
                </a:solidFill>
                <a:effectLst/>
                <a:latin typeface="+mn-lt"/>
                <a:ea typeface="+mn-ea"/>
                <a:cs typeface="+mn-cs"/>
              </a:rPr>
              <a:t>signalez</a:t>
            </a:r>
            <a:r>
              <a:rPr sz="1200" b="0" i="0" kern="1200">
                <a:solidFill>
                  <a:schemeClr val="tx1"/>
                </a:solidFill>
                <a:effectLst/>
                <a:latin typeface="+mn-lt"/>
                <a:ea typeface="+mn-ea"/>
                <a:cs typeface="+mn-cs"/>
              </a:rPr>
              <a:t>-le avec tact et </a:t>
            </a:r>
            <a:r>
              <a:rPr sz="1200" b="0" i="0" kern="1200" err="1">
                <a:solidFill>
                  <a:schemeClr val="tx1"/>
                </a:solidFill>
                <a:effectLst/>
                <a:latin typeface="+mn-lt"/>
                <a:ea typeface="+mn-ea"/>
                <a:cs typeface="+mn-cs"/>
              </a:rPr>
              <a:t>notez</a:t>
            </a:r>
            <a:r>
              <a:rPr sz="1200" b="0" i="0" kern="1200">
                <a:solidFill>
                  <a:schemeClr val="tx1"/>
                </a:solidFill>
                <a:effectLst/>
                <a:latin typeface="+mn-lt"/>
                <a:ea typeface="+mn-ea"/>
                <a:cs typeface="+mn-cs"/>
              </a:rPr>
              <a:t> que :</a:t>
            </a:r>
          </a:p>
          <a:p>
            <a:pPr marL="171450" indent="-171450">
              <a:buFont typeface="Arial" panose="020B0604020202020204" pitchFamily="34" charset="0"/>
              <a:buChar char="•"/>
            </a:pPr>
            <a:r>
              <a:rPr sz="1200" b="0" i="0" kern="1200" err="1">
                <a:solidFill>
                  <a:schemeClr val="tx1"/>
                </a:solidFill>
                <a:effectLst/>
                <a:latin typeface="+mn-lt"/>
                <a:ea typeface="+mn-ea"/>
                <a:cs typeface="+mn-cs"/>
              </a:rPr>
              <a:t>Nombre</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d’entre</a:t>
            </a:r>
            <a:r>
              <a:rPr sz="1200" b="0" i="0" kern="1200">
                <a:solidFill>
                  <a:schemeClr val="tx1"/>
                </a:solidFill>
                <a:effectLst/>
                <a:latin typeface="+mn-lt"/>
                <a:ea typeface="+mn-ea"/>
                <a:cs typeface="+mn-cs"/>
              </a:rPr>
              <a:t> nous ne </a:t>
            </a:r>
            <a:r>
              <a:rPr sz="1200" b="0" i="0" kern="1200" err="1">
                <a:solidFill>
                  <a:schemeClr val="tx1"/>
                </a:solidFill>
                <a:effectLst/>
                <a:latin typeface="+mn-lt"/>
                <a:ea typeface="+mn-ea"/>
                <a:cs typeface="+mn-cs"/>
              </a:rPr>
              <a:t>savons</a:t>
            </a:r>
            <a:r>
              <a:rPr sz="1200" b="0" i="0" kern="1200">
                <a:solidFill>
                  <a:schemeClr val="tx1"/>
                </a:solidFill>
                <a:effectLst/>
                <a:latin typeface="+mn-lt"/>
                <a:ea typeface="+mn-ea"/>
                <a:cs typeface="+mn-cs"/>
              </a:rPr>
              <a:t> pas </a:t>
            </a:r>
            <a:r>
              <a:rPr sz="1200" b="0" i="0" kern="1200" err="1">
                <a:solidFill>
                  <a:schemeClr val="tx1"/>
                </a:solidFill>
                <a:effectLst/>
                <a:latin typeface="+mn-lt"/>
                <a:ea typeface="+mn-ea"/>
                <a:cs typeface="+mn-cs"/>
              </a:rPr>
              <a:t>ce</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en</a:t>
            </a:r>
            <a:r>
              <a:rPr sz="1200" b="0" i="0" kern="1200">
                <a:solidFill>
                  <a:schemeClr val="tx1"/>
                </a:solidFill>
                <a:effectLst/>
                <a:latin typeface="+mn-lt"/>
                <a:ea typeface="+mn-ea"/>
                <a:cs typeface="+mn-cs"/>
              </a:rPr>
              <a:t> quoi </a:t>
            </a:r>
            <a:r>
              <a:rPr sz="1200" b="0" i="0" kern="1200" err="1">
                <a:solidFill>
                  <a:schemeClr val="tx1"/>
                </a:solidFill>
                <a:effectLst/>
                <a:latin typeface="+mn-lt"/>
                <a:ea typeface="+mn-ea"/>
                <a:cs typeface="+mn-cs"/>
              </a:rPr>
              <a:t>consiste</a:t>
            </a:r>
            <a:r>
              <a:rPr sz="1200" b="0" i="0" kern="1200">
                <a:solidFill>
                  <a:schemeClr val="tx1"/>
                </a:solidFill>
                <a:effectLst/>
                <a:latin typeface="+mn-lt"/>
                <a:ea typeface="+mn-ea"/>
                <a:cs typeface="+mn-cs"/>
              </a:rPr>
              <a:t> le </a:t>
            </a:r>
            <a:r>
              <a:rPr sz="1200" b="0" i="0" kern="1200" err="1">
                <a:solidFill>
                  <a:schemeClr val="tx1"/>
                </a:solidFill>
                <a:effectLst/>
                <a:latin typeface="+mn-lt"/>
                <a:ea typeface="+mn-ea"/>
                <a:cs typeface="+mn-cs"/>
              </a:rPr>
              <a:t>conseil</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psychologique</a:t>
            </a:r>
            <a:r>
              <a:rPr sz="1200" b="0" i="0" kern="1200">
                <a:solidFill>
                  <a:schemeClr val="tx1"/>
                </a:solidFill>
                <a:effectLst/>
                <a:latin typeface="+mn-lt"/>
                <a:ea typeface="+mn-ea"/>
                <a:cs typeface="+mn-cs"/>
              </a:rPr>
              <a:t>, et </a:t>
            </a:r>
          </a:p>
          <a:p>
            <a:pPr marL="171450" indent="-171450">
              <a:buFont typeface="Arial" panose="020B0604020202020204" pitchFamily="34" charset="0"/>
              <a:buChar char="•"/>
            </a:pPr>
            <a:r>
              <a:rPr sz="1200" b="0" i="0" kern="1200">
                <a:solidFill>
                  <a:schemeClr val="tx1"/>
                </a:solidFill>
                <a:effectLst/>
                <a:latin typeface="+mn-lt"/>
                <a:ea typeface="+mn-ea"/>
                <a:cs typeface="+mn-cs"/>
              </a:rPr>
              <a:t>Le simple fait de </a:t>
            </a:r>
            <a:r>
              <a:rPr sz="1200" b="0" i="0" kern="1200" err="1">
                <a:solidFill>
                  <a:schemeClr val="tx1"/>
                </a:solidFill>
                <a:effectLst/>
                <a:latin typeface="+mn-lt"/>
                <a:ea typeface="+mn-ea"/>
                <a:cs typeface="+mn-cs"/>
              </a:rPr>
              <a:t>soulever</a:t>
            </a:r>
            <a:r>
              <a:rPr sz="1200" b="0" i="0" kern="1200">
                <a:solidFill>
                  <a:schemeClr val="tx1"/>
                </a:solidFill>
                <a:effectLst/>
                <a:latin typeface="+mn-lt"/>
                <a:ea typeface="+mn-ea"/>
                <a:cs typeface="+mn-cs"/>
              </a:rPr>
              <a:t> le </a:t>
            </a:r>
            <a:r>
              <a:rPr sz="1200" b="0" i="0" kern="1200" err="1">
                <a:solidFill>
                  <a:schemeClr val="tx1"/>
                </a:solidFill>
                <a:effectLst/>
                <a:latin typeface="+mn-lt"/>
                <a:ea typeface="+mn-ea"/>
                <a:cs typeface="+mn-cs"/>
              </a:rPr>
              <a:t>sujet</a:t>
            </a:r>
            <a:r>
              <a:rPr sz="1200" b="0" i="0" kern="1200">
                <a:solidFill>
                  <a:schemeClr val="tx1"/>
                </a:solidFill>
                <a:effectLst/>
                <a:latin typeface="+mn-lt"/>
                <a:ea typeface="+mn-ea"/>
                <a:cs typeface="+mn-cs"/>
              </a:rPr>
              <a:t> du </a:t>
            </a:r>
            <a:r>
              <a:rPr sz="1200" b="0" i="0" kern="1200" err="1">
                <a:solidFill>
                  <a:schemeClr val="tx1"/>
                </a:solidFill>
                <a:effectLst/>
                <a:latin typeface="+mn-lt"/>
                <a:ea typeface="+mn-ea"/>
                <a:cs typeface="+mn-cs"/>
              </a:rPr>
              <a:t>conseil</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psychologique</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peut</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susciter</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une</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certaine</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gêne</a:t>
            </a:r>
            <a:r>
              <a:rPr sz="1200" b="0" i="0" kern="1200">
                <a:solidFill>
                  <a:schemeClr val="tx1"/>
                </a:solidFill>
                <a:effectLst/>
                <a:latin typeface="+mn-lt"/>
                <a:ea typeface="+mn-ea"/>
                <a:cs typeface="+mn-cs"/>
              </a:rPr>
              <a:t> et un sentiment </a:t>
            </a:r>
            <a:r>
              <a:rPr sz="1200" b="0" i="0" kern="1200" err="1">
                <a:solidFill>
                  <a:schemeClr val="tx1"/>
                </a:solidFill>
                <a:effectLst/>
                <a:latin typeface="+mn-lt"/>
                <a:ea typeface="+mn-ea"/>
                <a:cs typeface="+mn-cs"/>
              </a:rPr>
              <a:t>d’incertitude</a:t>
            </a:r>
            <a:r>
              <a:rPr sz="1200" b="0" i="0" kern="1200">
                <a:solidFill>
                  <a:schemeClr val="tx1"/>
                </a:solidFill>
                <a:effectLst/>
                <a:latin typeface="+mn-lt"/>
                <a:ea typeface="+mn-ea"/>
                <a:cs typeface="+mn-cs"/>
              </a:rPr>
              <a:t> chez les gens. </a:t>
            </a:r>
          </a:p>
          <a:p>
            <a:pPr marL="171450" indent="-171450">
              <a:buFont typeface="Arial" panose="020B0604020202020204" pitchFamily="34" charset="0"/>
              <a:buChar char="•"/>
            </a:pPr>
            <a:endParaRPr lang="en-US" sz="1200" b="0" i="0" kern="1200">
              <a:solidFill>
                <a:schemeClr val="tx1"/>
              </a:solidFill>
              <a:effectLst/>
              <a:latin typeface="+mn-lt"/>
              <a:ea typeface="+mn-ea"/>
              <a:cs typeface="+mn-cs"/>
            </a:endParaRPr>
          </a:p>
          <a:p>
            <a:pPr marL="0" indent="0">
              <a:buFont typeface="Arial" panose="020B0604020202020204" pitchFamily="34" charset="0"/>
              <a:buNone/>
            </a:pPr>
            <a:r>
              <a:rPr sz="1200" b="1" i="1" kern="1200" err="1">
                <a:solidFill>
                  <a:schemeClr val="tx1"/>
                </a:solidFill>
                <a:effectLst/>
                <a:latin typeface="+mn-lt"/>
                <a:ea typeface="+mn-ea"/>
                <a:cs typeface="+mn-cs"/>
              </a:rPr>
              <a:t>Expliquez</a:t>
            </a:r>
            <a:r>
              <a:rPr sz="1200" b="0" i="0" kern="1200">
                <a:solidFill>
                  <a:schemeClr val="tx1"/>
                </a:solidFill>
                <a:effectLst/>
                <a:latin typeface="+mn-lt"/>
                <a:ea typeface="+mn-ea"/>
                <a:cs typeface="+mn-cs"/>
              </a:rPr>
              <a:t> que </a:t>
            </a:r>
            <a:r>
              <a:rPr sz="1200" b="0" i="0" kern="1200" err="1">
                <a:solidFill>
                  <a:schemeClr val="tx1"/>
                </a:solidFill>
                <a:effectLst/>
                <a:latin typeface="+mn-lt"/>
                <a:ea typeface="+mn-ea"/>
                <a:cs typeface="+mn-cs"/>
              </a:rPr>
              <a:t>vous</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allez</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offrir</a:t>
            </a:r>
            <a:r>
              <a:rPr sz="1200" b="1" i="1" kern="1200">
                <a:solidFill>
                  <a:schemeClr val="tx1"/>
                </a:solidFill>
                <a:effectLst/>
                <a:latin typeface="+mn-lt"/>
                <a:ea typeface="+mn-ea"/>
                <a:cs typeface="+mn-cs"/>
              </a:rPr>
              <a:t> </a:t>
            </a:r>
            <a:r>
              <a:rPr sz="1200" b="0" i="0" kern="1200" err="1">
                <a:solidFill>
                  <a:schemeClr val="tx1"/>
                </a:solidFill>
                <a:effectLst/>
                <a:latin typeface="+mn-lt"/>
                <a:ea typeface="+mn-ea"/>
                <a:cs typeface="+mn-cs"/>
              </a:rPr>
              <a:t>une</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définition</a:t>
            </a:r>
            <a:r>
              <a:rPr sz="1200" b="0" i="0" kern="1200">
                <a:solidFill>
                  <a:schemeClr val="tx1"/>
                </a:solidFill>
                <a:effectLst/>
                <a:latin typeface="+mn-lt"/>
                <a:ea typeface="+mn-ea"/>
                <a:cs typeface="+mn-cs"/>
              </a:rPr>
              <a:t> simple du </a:t>
            </a:r>
            <a:r>
              <a:rPr sz="1200" b="0" i="0" kern="1200" err="1">
                <a:solidFill>
                  <a:schemeClr val="tx1"/>
                </a:solidFill>
                <a:effectLst/>
                <a:latin typeface="+mn-lt"/>
                <a:ea typeface="+mn-ea"/>
                <a:cs typeface="+mn-cs"/>
              </a:rPr>
              <a:t>conseil</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psychologique</a:t>
            </a:r>
            <a:r>
              <a:rPr sz="1200" b="0" i="0" kern="1200">
                <a:solidFill>
                  <a:schemeClr val="tx1"/>
                </a:solidFill>
                <a:effectLst/>
                <a:latin typeface="+mn-lt"/>
                <a:ea typeface="+mn-ea"/>
                <a:cs typeface="+mn-cs"/>
              </a:rPr>
              <a:t> sur la diapositive </a:t>
            </a:r>
            <a:r>
              <a:rPr sz="1200" b="0" i="0" kern="1200" err="1">
                <a:solidFill>
                  <a:schemeClr val="tx1"/>
                </a:solidFill>
                <a:effectLst/>
                <a:latin typeface="+mn-lt"/>
                <a:ea typeface="+mn-ea"/>
                <a:cs typeface="+mn-cs"/>
              </a:rPr>
              <a:t>suivante</a:t>
            </a:r>
            <a:r>
              <a:rPr sz="1200" b="0" i="0" kern="1200">
                <a:solidFill>
                  <a:schemeClr val="tx1"/>
                </a:solidFill>
                <a:effectLst/>
                <a:latin typeface="+mn-lt"/>
                <a:ea typeface="+mn-ea"/>
                <a:cs typeface="+mn-cs"/>
              </a:rPr>
              <a:t> </a:t>
            </a:r>
            <a:r>
              <a:rPr sz="1200" b="0" i="0" kern="1200" err="1">
                <a:solidFill>
                  <a:schemeClr val="tx1"/>
                </a:solidFill>
                <a:effectLst/>
                <a:latin typeface="+mn-lt"/>
                <a:ea typeface="+mn-ea"/>
                <a:cs typeface="+mn-cs"/>
              </a:rPr>
              <a:t>en</a:t>
            </a:r>
            <a:r>
              <a:rPr sz="1200" b="0" i="0" kern="1200">
                <a:solidFill>
                  <a:schemeClr val="tx1"/>
                </a:solidFill>
                <a:effectLst/>
                <a:latin typeface="+mn-lt"/>
                <a:ea typeface="+mn-ea"/>
                <a:cs typeface="+mn-cs"/>
              </a:rPr>
              <a:t> guise de point de </a:t>
            </a:r>
            <a:r>
              <a:rPr sz="1200" b="0" i="0" kern="1200" err="1">
                <a:solidFill>
                  <a:schemeClr val="tx1"/>
                </a:solidFill>
                <a:effectLst/>
                <a:latin typeface="+mn-lt"/>
                <a:ea typeface="+mn-ea"/>
                <a:cs typeface="+mn-cs"/>
              </a:rPr>
              <a:t>départ</a:t>
            </a:r>
            <a:r>
              <a:rPr sz="1200" b="0" i="0" kern="1200">
                <a:solidFill>
                  <a:schemeClr val="tx1"/>
                </a:solidFill>
                <a:effectLst/>
                <a:latin typeface="+mn-lt"/>
                <a:ea typeface="+mn-ea"/>
                <a:cs typeface="+mn-cs"/>
              </a:rPr>
              <a:t> pour la discussion.</a:t>
            </a:r>
            <a:endParaRPr lang="en-US" sz="1200" b="1" i="1"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Présentez </a:t>
            </a:r>
            <a:r>
              <a:t>cette définition du conseil psychologique. </a:t>
            </a:r>
          </a:p>
          <a:p>
            <a:endParaRPr lang="en-US"/>
          </a:p>
          <a:p>
            <a:endParaRPr lang="en-US" sz="1200" b="0" i="0" kern="1200">
              <a:solidFill>
                <a:schemeClr val="tx1"/>
              </a:solidFill>
              <a:effectLst/>
              <a:latin typeface="+mn-lt"/>
              <a:ea typeface="+mn-ea"/>
              <a:cs typeface="+mn-cs"/>
            </a:endParaRPr>
          </a:p>
          <a:p>
            <a:pPr marL="0" indent="0" algn="ctr">
              <a:lnSpc>
                <a:spcPct val="100000"/>
              </a:lnSpc>
              <a:buNone/>
            </a:pPr>
            <a:endParaRPr lang="en-US"/>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a:p>
        </p:txBody>
      </p:sp>
    </p:spTree>
    <p:extLst>
      <p:ext uri="{BB962C8B-B14F-4D97-AF65-F5344CB8AC3E}">
        <p14:creationId xmlns:p14="http://schemas.microsoft.com/office/powerpoint/2010/main" val="379859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Expliquez </a:t>
            </a:r>
            <a:r>
              <a:rPr b="0" i="0"/>
              <a:t>qu'il circule beaucoup d'informations erronées sur la nature du conseil psychologique et sur ce qu'il permet d’accomplir.</a:t>
            </a:r>
          </a:p>
          <a:p>
            <a:endParaRPr lang="en-US" b="1" i="1"/>
          </a:p>
          <a:p>
            <a:r>
              <a:rPr b="1" i="1"/>
              <a:t>Présentez </a:t>
            </a:r>
            <a:r>
              <a:rPr b="0" i="0"/>
              <a:t>et</a:t>
            </a:r>
            <a:r>
              <a:rPr b="1" i="0"/>
              <a:t> </a:t>
            </a:r>
            <a:r>
              <a:rPr b="1" i="1"/>
              <a:t>débattez </a:t>
            </a:r>
            <a:r>
              <a:rPr b="0" i="0"/>
              <a:t>des six mythes courants (sur 3 diapositives). </a:t>
            </a:r>
          </a:p>
          <a:p>
            <a:pPr marL="171450" indent="-171450">
              <a:buFont typeface="Arial" panose="020B0604020202020204" pitchFamily="34" charset="0"/>
              <a:buChar char="•"/>
            </a:pPr>
            <a:r>
              <a:rPr b="0" i="0"/>
              <a:t>Si votre groupe est détendu et ouvert d’esprit, vous pouvez présenter chaque mythe et demander aux participants de réagir à chacun d’entre eux avant de montrer la « contre-déclaration ».</a:t>
            </a:r>
          </a:p>
          <a:p>
            <a:pPr marL="171450" indent="-171450">
              <a:buFont typeface="Arial" panose="020B0604020202020204" pitchFamily="34" charset="0"/>
              <a:buChar char="•"/>
            </a:pPr>
            <a:r>
              <a:rPr b="0" i="0"/>
              <a:t>Si votre groupe est plus réservé et prudent, vous pouvez simplement présenter un à un les mythes et les contre-déclarations afin d’éviter de « mettre les gens sur la sellette ». </a:t>
            </a:r>
            <a:endParaRPr lang="en-US" b="1" i="1"/>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a:p>
        </p:txBody>
      </p:sp>
    </p:spTree>
    <p:extLst>
      <p:ext uri="{BB962C8B-B14F-4D97-AF65-F5344CB8AC3E}">
        <p14:creationId xmlns:p14="http://schemas.microsoft.com/office/powerpoint/2010/main" val="27274194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70FF2E4-95BE-49CA-89E1-C2C428ECDA9A}" type="slidenum">
              <a:rPr lang="en-US" smtClean="0"/>
              <a:pPr/>
              <a:t>7</a:t>
            </a:fld>
            <a:endParaRPr lang="en-US"/>
          </a:p>
        </p:txBody>
      </p:sp>
    </p:spTree>
    <p:extLst>
      <p:ext uri="{BB962C8B-B14F-4D97-AF65-F5344CB8AC3E}">
        <p14:creationId xmlns:p14="http://schemas.microsoft.com/office/powerpoint/2010/main" val="2286089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Présentez </a:t>
            </a:r>
            <a:r>
              <a:t>cette définition supplémentaire du conseil psychologique avant de discuter des compétences dont doivent disposer les conseillers psychologues pour pouvoir accomplir ces choses.</a:t>
            </a:r>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a:p>
        </p:txBody>
      </p:sp>
    </p:spTree>
    <p:extLst>
      <p:ext uri="{BB962C8B-B14F-4D97-AF65-F5344CB8AC3E}">
        <p14:creationId xmlns:p14="http://schemas.microsoft.com/office/powerpoint/2010/main" val="1732898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Demandez </a:t>
            </a:r>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a:p>
        </p:txBody>
      </p:sp>
    </p:spTree>
    <p:extLst>
      <p:ext uri="{BB962C8B-B14F-4D97-AF65-F5344CB8AC3E}">
        <p14:creationId xmlns:p14="http://schemas.microsoft.com/office/powerpoint/2010/main" val="4231266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Présentez </a:t>
            </a:r>
            <a:r>
              <a:rPr b="0" i="0"/>
              <a:t>les informations qui se trouvent sur la diapositive.</a:t>
            </a:r>
            <a:endParaRPr lang="en-US" b="1" i="1"/>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a:p>
        </p:txBody>
      </p:sp>
    </p:spTree>
    <p:extLst>
      <p:ext uri="{BB962C8B-B14F-4D97-AF65-F5344CB8AC3E}">
        <p14:creationId xmlns:p14="http://schemas.microsoft.com/office/powerpoint/2010/main" val="40738855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428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defRPr sz="26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a:cs typeface="Arial" charset="0"/>
              </a:rPr>
              <a:t>From Harm to Home </a:t>
            </a:r>
            <a:r>
              <a:rPr lang="en-US" sz="900">
                <a:cs typeface="Arial" charset="0"/>
              </a:rPr>
              <a:t>|</a:t>
            </a:r>
            <a:r>
              <a:rPr lang="en-US" sz="900" b="1">
                <a:cs typeface="Arial" charset="0"/>
              </a:rPr>
              <a:t> Rescue.org</a:t>
            </a:r>
            <a:endParaRPr lang="en-US" sz="90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mailto:AJWSGlobal@konterrasupport.net"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07207" y="1139624"/>
            <a:ext cx="8101012" cy="1917901"/>
          </a:xfrm>
        </p:spPr>
        <p:txBody>
          <a:bodyPr/>
          <a:lstStyle/>
          <a:p>
            <a:r>
              <a:rPr sz="4800" err="1"/>
              <a:t>Qu'est-ce</a:t>
            </a:r>
            <a:r>
              <a:rPr sz="4800"/>
              <a:t> que le </a:t>
            </a:r>
            <a:r>
              <a:rPr sz="4800" err="1"/>
              <a:t>conseil</a:t>
            </a:r>
            <a:r>
              <a:rPr sz="4800"/>
              <a:t> </a:t>
            </a:r>
            <a:r>
              <a:rPr sz="4800" err="1"/>
              <a:t>psychologique</a:t>
            </a:r>
            <a:r>
              <a:rPr sz="4800"/>
              <a:t>, et </a:t>
            </a:r>
            <a:r>
              <a:rPr sz="4800" err="1"/>
              <a:t>est-ce</a:t>
            </a:r>
            <a:r>
              <a:rPr sz="4800"/>
              <a:t> pour </a:t>
            </a:r>
            <a:r>
              <a:rPr sz="4800" err="1"/>
              <a:t>moi</a:t>
            </a:r>
            <a:r>
              <a:rPr sz="4800"/>
              <a:t> ?</a:t>
            </a:r>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0FA9E-1965-FD4B-BA2A-DEF7C0026237}"/>
              </a:ext>
            </a:extLst>
          </p:cNvPr>
          <p:cNvSpPr>
            <a:spLocks noGrp="1"/>
          </p:cNvSpPr>
          <p:nvPr>
            <p:ph type="title"/>
          </p:nvPr>
        </p:nvSpPr>
        <p:spPr/>
        <p:txBody>
          <a:bodyPr/>
          <a:lstStyle/>
          <a:p>
            <a:r>
              <a:t>Les conseillers psychologues sont formés pour...</a:t>
            </a:r>
          </a:p>
        </p:txBody>
      </p:sp>
      <p:sp>
        <p:nvSpPr>
          <p:cNvPr id="3" name="Text Placeholder 2">
            <a:extLst>
              <a:ext uri="{FF2B5EF4-FFF2-40B4-BE49-F238E27FC236}">
                <a16:creationId xmlns:a16="http://schemas.microsoft.com/office/drawing/2014/main" id="{BF8D4318-1FF6-344A-AF74-328EC589168C}"/>
              </a:ext>
            </a:extLst>
          </p:cNvPr>
          <p:cNvSpPr>
            <a:spLocks noGrp="1"/>
          </p:cNvSpPr>
          <p:nvPr>
            <p:ph type="body" sz="quarter" idx="10"/>
          </p:nvPr>
        </p:nvSpPr>
        <p:spPr>
          <a:xfrm>
            <a:off x="461963" y="1146175"/>
            <a:ext cx="8239125" cy="4817745"/>
          </a:xfrm>
        </p:spPr>
        <p:txBody>
          <a:bodyPr/>
          <a:lstStyle/>
          <a:p>
            <a:r>
              <a:rPr sz="2200" err="1"/>
              <a:t>Écouter</a:t>
            </a:r>
            <a:r>
              <a:rPr sz="2200"/>
              <a:t> </a:t>
            </a:r>
            <a:r>
              <a:rPr sz="2200" err="1"/>
              <a:t>attentivement</a:t>
            </a:r>
            <a:endParaRPr sz="2200"/>
          </a:p>
          <a:p>
            <a:r>
              <a:rPr sz="2200" err="1"/>
              <a:t>Comprendre</a:t>
            </a:r>
            <a:r>
              <a:rPr sz="2200"/>
              <a:t> la </a:t>
            </a:r>
            <a:r>
              <a:rPr sz="2200" err="1"/>
              <a:t>diversité</a:t>
            </a:r>
            <a:r>
              <a:rPr sz="2200"/>
              <a:t> des </a:t>
            </a:r>
            <a:r>
              <a:rPr sz="2200" err="1"/>
              <a:t>facteurs</a:t>
            </a:r>
            <a:r>
              <a:rPr sz="2200"/>
              <a:t> qui </a:t>
            </a:r>
            <a:r>
              <a:rPr sz="2200" err="1"/>
              <a:t>contribuent</a:t>
            </a:r>
            <a:r>
              <a:rPr sz="2200"/>
              <a:t> </a:t>
            </a:r>
            <a:r>
              <a:rPr sz="2200" err="1"/>
              <a:t>à</a:t>
            </a:r>
            <a:r>
              <a:rPr sz="2200"/>
              <a:t> un </a:t>
            </a:r>
            <a:r>
              <a:rPr sz="2200" err="1"/>
              <a:t>problème</a:t>
            </a:r>
            <a:r>
              <a:rPr sz="2200"/>
              <a:t> (p. ex. </a:t>
            </a:r>
            <a:r>
              <a:rPr sz="2200" err="1"/>
              <a:t>individuels</a:t>
            </a:r>
            <a:r>
              <a:rPr sz="2200"/>
              <a:t>, </a:t>
            </a:r>
            <a:r>
              <a:rPr sz="2200" err="1"/>
              <a:t>environnementaux</a:t>
            </a:r>
            <a:r>
              <a:rPr sz="2200"/>
              <a:t>, </a:t>
            </a:r>
            <a:r>
              <a:rPr sz="2200" err="1"/>
              <a:t>situationnels</a:t>
            </a:r>
            <a:r>
              <a:rPr sz="2200"/>
              <a:t>, </a:t>
            </a:r>
            <a:r>
              <a:rPr sz="2200" err="1"/>
              <a:t>multiculturels</a:t>
            </a:r>
            <a:r>
              <a:rPr sz="2200"/>
              <a:t>, </a:t>
            </a:r>
            <a:r>
              <a:rPr sz="2200" err="1"/>
              <a:t>organisationnels</a:t>
            </a:r>
            <a:r>
              <a:rPr sz="2200"/>
              <a:t>, </a:t>
            </a:r>
            <a:r>
              <a:rPr sz="2200" err="1"/>
              <a:t>relationnels</a:t>
            </a:r>
            <a:r>
              <a:rPr sz="2200"/>
              <a:t>)</a:t>
            </a:r>
          </a:p>
          <a:p>
            <a:r>
              <a:rPr sz="2200"/>
              <a:t>Identifier des points de </a:t>
            </a:r>
            <a:r>
              <a:rPr sz="2200" err="1"/>
              <a:t>vue</a:t>
            </a:r>
            <a:r>
              <a:rPr sz="2200"/>
              <a:t> et des explications </a:t>
            </a:r>
            <a:r>
              <a:rPr sz="2200" err="1"/>
              <a:t>alternatifs</a:t>
            </a:r>
            <a:endParaRPr sz="2200"/>
          </a:p>
          <a:p>
            <a:r>
              <a:rPr sz="2200"/>
              <a:t>Poser de </a:t>
            </a:r>
            <a:r>
              <a:rPr sz="2200" err="1"/>
              <a:t>bonnes</a:t>
            </a:r>
            <a:r>
              <a:rPr sz="2200"/>
              <a:t> questions qui </a:t>
            </a:r>
            <a:r>
              <a:rPr sz="2200" err="1"/>
              <a:t>vous</a:t>
            </a:r>
            <a:r>
              <a:rPr sz="2200"/>
              <a:t> </a:t>
            </a:r>
            <a:r>
              <a:rPr sz="2200" err="1"/>
              <a:t>aident</a:t>
            </a:r>
            <a:r>
              <a:rPr sz="2200"/>
              <a:t> </a:t>
            </a:r>
            <a:r>
              <a:rPr sz="2200" err="1"/>
              <a:t>à</a:t>
            </a:r>
            <a:r>
              <a:rPr sz="2200"/>
              <a:t> </a:t>
            </a:r>
            <a:r>
              <a:rPr sz="2200" err="1"/>
              <a:t>mieux</a:t>
            </a:r>
            <a:r>
              <a:rPr sz="2200"/>
              <a:t> </a:t>
            </a:r>
            <a:r>
              <a:rPr sz="2200" err="1"/>
              <a:t>vous</a:t>
            </a:r>
            <a:r>
              <a:rPr sz="2200"/>
              <a:t> </a:t>
            </a:r>
            <a:r>
              <a:rPr sz="2200" err="1"/>
              <a:t>comprendre</a:t>
            </a:r>
            <a:endParaRPr sz="2200"/>
          </a:p>
          <a:p>
            <a:r>
              <a:rPr sz="2200"/>
              <a:t>Adopter </a:t>
            </a:r>
            <a:r>
              <a:rPr sz="2200" err="1"/>
              <a:t>une</a:t>
            </a:r>
            <a:r>
              <a:rPr sz="2200"/>
              <a:t> </a:t>
            </a:r>
            <a:r>
              <a:rPr sz="2200" err="1"/>
              <a:t>approche</a:t>
            </a:r>
            <a:r>
              <a:rPr sz="2200"/>
              <a:t> </a:t>
            </a:r>
            <a:r>
              <a:rPr sz="2200" err="1"/>
              <a:t>basée</a:t>
            </a:r>
            <a:r>
              <a:rPr sz="2200"/>
              <a:t> sur les points forts </a:t>
            </a:r>
          </a:p>
          <a:p>
            <a:r>
              <a:rPr sz="2200" err="1"/>
              <a:t>Offrir</a:t>
            </a:r>
            <a:r>
              <a:rPr sz="2200"/>
              <a:t> des suggestions </a:t>
            </a:r>
            <a:r>
              <a:rPr sz="2200" err="1"/>
              <a:t>basées</a:t>
            </a:r>
            <a:r>
              <a:rPr sz="2200"/>
              <a:t> sur des </a:t>
            </a:r>
            <a:r>
              <a:rPr sz="2200" err="1"/>
              <a:t>preuves</a:t>
            </a:r>
            <a:r>
              <a:rPr sz="2200"/>
              <a:t> </a:t>
            </a:r>
            <a:r>
              <a:rPr sz="2200" err="1"/>
              <a:t>scientifiques</a:t>
            </a:r>
            <a:r>
              <a:rPr sz="2200"/>
              <a:t> de choses que </a:t>
            </a:r>
            <a:r>
              <a:rPr sz="2200" err="1"/>
              <a:t>vous</a:t>
            </a:r>
            <a:r>
              <a:rPr sz="2200"/>
              <a:t> </a:t>
            </a:r>
            <a:r>
              <a:rPr sz="2200" err="1"/>
              <a:t>pourriez</a:t>
            </a:r>
            <a:r>
              <a:rPr sz="2200"/>
              <a:t> essayer pour </a:t>
            </a:r>
            <a:r>
              <a:rPr sz="2200" err="1"/>
              <a:t>améliorer</a:t>
            </a:r>
            <a:r>
              <a:rPr sz="2200"/>
              <a:t> </a:t>
            </a:r>
            <a:r>
              <a:rPr sz="2200" err="1"/>
              <a:t>votre</a:t>
            </a:r>
            <a:r>
              <a:rPr sz="2200"/>
              <a:t> vie</a:t>
            </a:r>
          </a:p>
          <a:p>
            <a:endParaRPr lang="en-US"/>
          </a:p>
        </p:txBody>
      </p:sp>
    </p:spTree>
    <p:extLst>
      <p:ext uri="{BB962C8B-B14F-4D97-AF65-F5344CB8AC3E}">
        <p14:creationId xmlns:p14="http://schemas.microsoft.com/office/powerpoint/2010/main" val="35098517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r>
              <a:t>3. En quoi pourrais-je bénéficier des services d'un conseiller psychologue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36901487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22DD4-C57D-8F41-B301-F37F08F1F12E}"/>
              </a:ext>
            </a:extLst>
          </p:cNvPr>
          <p:cNvSpPr>
            <a:spLocks noGrp="1"/>
          </p:cNvSpPr>
          <p:nvPr>
            <p:ph type="title"/>
          </p:nvPr>
        </p:nvSpPr>
        <p:spPr/>
        <p:txBody>
          <a:bodyPr/>
          <a:lstStyle/>
          <a:p>
            <a:r>
              <a:rPr sz="2400"/>
              <a:t>Un conseiller psychologue peut vous aider à...</a:t>
            </a:r>
          </a:p>
        </p:txBody>
      </p:sp>
      <p:sp>
        <p:nvSpPr>
          <p:cNvPr id="3" name="Text Placeholder 2">
            <a:extLst>
              <a:ext uri="{FF2B5EF4-FFF2-40B4-BE49-F238E27FC236}">
                <a16:creationId xmlns:a16="http://schemas.microsoft.com/office/drawing/2014/main" id="{D0485DD7-260E-2D43-89D9-232B0B2F5D7C}"/>
              </a:ext>
            </a:extLst>
          </p:cNvPr>
          <p:cNvSpPr>
            <a:spLocks noGrp="1"/>
          </p:cNvSpPr>
          <p:nvPr>
            <p:ph type="body" sz="quarter" idx="10"/>
          </p:nvPr>
        </p:nvSpPr>
        <p:spPr>
          <a:xfrm>
            <a:off x="461963" y="1023512"/>
            <a:ext cx="7945767" cy="4577731"/>
          </a:xfrm>
        </p:spPr>
        <p:txBody>
          <a:bodyPr/>
          <a:lstStyle/>
          <a:p>
            <a:pPr>
              <a:lnSpc>
                <a:spcPct val="100000"/>
              </a:lnSpc>
              <a:spcBef>
                <a:spcPts val="600"/>
              </a:spcBef>
              <a:spcAft>
                <a:spcPts val="600"/>
              </a:spcAft>
            </a:pPr>
            <a:r>
              <a:rPr sz="2000" err="1"/>
              <a:t>Digérer</a:t>
            </a:r>
            <a:r>
              <a:rPr sz="2000"/>
              <a:t> </a:t>
            </a:r>
            <a:r>
              <a:rPr sz="2000" err="1"/>
              <a:t>vos</a:t>
            </a:r>
            <a:r>
              <a:rPr sz="2000"/>
              <a:t> pensées et </a:t>
            </a:r>
            <a:r>
              <a:rPr sz="2000" err="1"/>
              <a:t>vos</a:t>
            </a:r>
            <a:r>
              <a:rPr sz="2000"/>
              <a:t> </a:t>
            </a:r>
            <a:r>
              <a:rPr sz="2000" err="1"/>
              <a:t>émotions</a:t>
            </a:r>
            <a:endParaRPr sz="2000"/>
          </a:p>
          <a:p>
            <a:pPr>
              <a:lnSpc>
                <a:spcPct val="100000"/>
              </a:lnSpc>
              <a:spcBef>
                <a:spcPts val="600"/>
              </a:spcBef>
              <a:spcAft>
                <a:spcPts val="600"/>
              </a:spcAft>
            </a:pPr>
            <a:r>
              <a:rPr sz="2000" err="1"/>
              <a:t>Comprendre</a:t>
            </a:r>
            <a:r>
              <a:rPr sz="2000"/>
              <a:t> les </a:t>
            </a:r>
            <a:r>
              <a:rPr sz="2000" err="1"/>
              <a:t>difficultés</a:t>
            </a:r>
            <a:r>
              <a:rPr sz="2000"/>
              <a:t> </a:t>
            </a:r>
            <a:r>
              <a:rPr sz="2000" err="1"/>
              <a:t>ou</a:t>
            </a:r>
            <a:r>
              <a:rPr sz="2000"/>
              <a:t> les </a:t>
            </a:r>
            <a:r>
              <a:rPr sz="2000" err="1"/>
              <a:t>inquiétudes</a:t>
            </a:r>
            <a:r>
              <a:rPr sz="2000"/>
              <a:t> que </a:t>
            </a:r>
            <a:r>
              <a:rPr sz="2000" err="1"/>
              <a:t>vous</a:t>
            </a:r>
            <a:r>
              <a:rPr sz="2000"/>
              <a:t> </a:t>
            </a:r>
            <a:r>
              <a:rPr sz="2000" err="1"/>
              <a:t>rencontrez</a:t>
            </a:r>
            <a:r>
              <a:rPr sz="2000"/>
              <a:t> </a:t>
            </a:r>
          </a:p>
          <a:p>
            <a:pPr>
              <a:lnSpc>
                <a:spcPct val="100000"/>
              </a:lnSpc>
              <a:spcBef>
                <a:spcPts val="600"/>
              </a:spcBef>
              <a:spcAft>
                <a:spcPts val="600"/>
              </a:spcAft>
            </a:pPr>
            <a:r>
              <a:rPr sz="2000" err="1"/>
              <a:t>Réfléchir</a:t>
            </a:r>
            <a:r>
              <a:rPr sz="2000"/>
              <a:t> ensemble </a:t>
            </a:r>
            <a:r>
              <a:rPr sz="2000" err="1"/>
              <a:t>afin</a:t>
            </a:r>
            <a:r>
              <a:rPr sz="2000"/>
              <a:t> de </a:t>
            </a:r>
            <a:r>
              <a:rPr sz="2000" err="1"/>
              <a:t>trouver</a:t>
            </a:r>
            <a:r>
              <a:rPr sz="2000"/>
              <a:t> des </a:t>
            </a:r>
            <a:r>
              <a:rPr sz="2000" err="1"/>
              <a:t>idées</a:t>
            </a:r>
            <a:r>
              <a:rPr sz="2000"/>
              <a:t> et </a:t>
            </a:r>
            <a:r>
              <a:rPr sz="2000" err="1"/>
              <a:t>d’évaluer</a:t>
            </a:r>
            <a:r>
              <a:rPr sz="2000"/>
              <a:t> les</a:t>
            </a:r>
            <a:r>
              <a:rPr lang="en-GB" sz="2000"/>
              <a:t> </a:t>
            </a:r>
            <a:r>
              <a:rPr sz="2000" err="1"/>
              <a:t>possibilités</a:t>
            </a:r>
            <a:endParaRPr sz="2000"/>
          </a:p>
          <a:p>
            <a:pPr>
              <a:lnSpc>
                <a:spcPct val="100000"/>
              </a:lnSpc>
              <a:spcBef>
                <a:spcPts val="600"/>
              </a:spcBef>
              <a:spcAft>
                <a:spcPts val="600"/>
              </a:spcAft>
            </a:pPr>
            <a:r>
              <a:rPr sz="2000"/>
              <a:t>Identifier </a:t>
            </a:r>
            <a:r>
              <a:rPr sz="2000" err="1"/>
              <a:t>d’autres</a:t>
            </a:r>
            <a:r>
              <a:rPr sz="2000"/>
              <a:t> points de </a:t>
            </a:r>
            <a:r>
              <a:rPr sz="2000" err="1"/>
              <a:t>vue</a:t>
            </a:r>
            <a:r>
              <a:rPr sz="2000"/>
              <a:t> </a:t>
            </a:r>
            <a:r>
              <a:rPr sz="2000" err="1"/>
              <a:t>ou</a:t>
            </a:r>
            <a:r>
              <a:rPr sz="2000"/>
              <a:t> manières de </a:t>
            </a:r>
            <a:r>
              <a:rPr sz="2000" err="1"/>
              <a:t>penser</a:t>
            </a:r>
            <a:endParaRPr sz="2000"/>
          </a:p>
          <a:p>
            <a:pPr>
              <a:lnSpc>
                <a:spcPct val="100000"/>
              </a:lnSpc>
              <a:spcBef>
                <a:spcPts val="600"/>
              </a:spcBef>
              <a:spcAft>
                <a:spcPts val="600"/>
              </a:spcAft>
            </a:pPr>
            <a:r>
              <a:rPr sz="2000"/>
              <a:t>Identifier les </a:t>
            </a:r>
            <a:r>
              <a:rPr sz="2000" err="1"/>
              <a:t>changements</a:t>
            </a:r>
            <a:r>
              <a:rPr sz="2000"/>
              <a:t> </a:t>
            </a:r>
            <a:r>
              <a:rPr sz="2000" err="1"/>
              <a:t>souhaités</a:t>
            </a:r>
            <a:endParaRPr sz="2000"/>
          </a:p>
          <a:p>
            <a:pPr>
              <a:lnSpc>
                <a:spcPct val="100000"/>
              </a:lnSpc>
              <a:spcBef>
                <a:spcPts val="600"/>
              </a:spcBef>
              <a:spcAft>
                <a:spcPts val="600"/>
              </a:spcAft>
            </a:pPr>
            <a:endParaRPr lang="en-US" sz="2000"/>
          </a:p>
          <a:p>
            <a:pPr marL="0" indent="0">
              <a:lnSpc>
                <a:spcPct val="100000"/>
              </a:lnSpc>
              <a:spcBef>
                <a:spcPts val="600"/>
              </a:spcBef>
              <a:spcAft>
                <a:spcPts val="600"/>
              </a:spcAft>
              <a:buNone/>
            </a:pPr>
            <a:r>
              <a:rPr sz="2000"/>
              <a:t>Il </a:t>
            </a:r>
            <a:r>
              <a:rPr sz="2000" err="1"/>
              <a:t>n’appartient</a:t>
            </a:r>
            <a:r>
              <a:rPr sz="2000"/>
              <a:t> pas </a:t>
            </a:r>
            <a:r>
              <a:rPr sz="2000" err="1"/>
              <a:t>à</a:t>
            </a:r>
            <a:r>
              <a:rPr sz="2000"/>
              <a:t> un </a:t>
            </a:r>
            <a:r>
              <a:rPr sz="2000" err="1"/>
              <a:t>conseiller</a:t>
            </a:r>
            <a:r>
              <a:rPr sz="2000"/>
              <a:t> </a:t>
            </a:r>
            <a:r>
              <a:rPr sz="2000" err="1"/>
              <a:t>psychologue</a:t>
            </a:r>
            <a:r>
              <a:rPr sz="2000"/>
              <a:t> de </a:t>
            </a:r>
            <a:r>
              <a:rPr sz="2000" err="1"/>
              <a:t>vous</a:t>
            </a:r>
            <a:r>
              <a:rPr sz="2000"/>
              <a:t> « dire quoi faire ». </a:t>
            </a:r>
            <a:r>
              <a:rPr sz="2000" err="1"/>
              <a:t>Vous</a:t>
            </a:r>
            <a:r>
              <a:rPr sz="2000"/>
              <a:t> </a:t>
            </a:r>
            <a:r>
              <a:rPr sz="2000" err="1"/>
              <a:t>assumez</a:t>
            </a:r>
            <a:r>
              <a:rPr sz="2000"/>
              <a:t> la </a:t>
            </a:r>
            <a:r>
              <a:rPr sz="2000" err="1"/>
              <a:t>responsabilité</a:t>
            </a:r>
            <a:r>
              <a:rPr sz="2000"/>
              <a:t> </a:t>
            </a:r>
            <a:r>
              <a:rPr sz="2000" err="1"/>
              <a:t>ultime</a:t>
            </a:r>
            <a:r>
              <a:rPr sz="2000"/>
              <a:t> de </a:t>
            </a:r>
            <a:r>
              <a:rPr sz="2000" err="1"/>
              <a:t>toutes</a:t>
            </a:r>
            <a:r>
              <a:rPr sz="2000"/>
              <a:t> les </a:t>
            </a:r>
            <a:r>
              <a:rPr sz="2000" err="1"/>
              <a:t>décisions</a:t>
            </a:r>
            <a:r>
              <a:rPr sz="2000"/>
              <a:t> que </a:t>
            </a:r>
            <a:r>
              <a:rPr sz="2000" err="1"/>
              <a:t>vous</a:t>
            </a:r>
            <a:r>
              <a:rPr sz="2000"/>
              <a:t> </a:t>
            </a:r>
            <a:r>
              <a:rPr sz="2000" err="1"/>
              <a:t>prenez</a:t>
            </a:r>
            <a:r>
              <a:rPr sz="2000"/>
              <a:t> et de </a:t>
            </a:r>
            <a:r>
              <a:rPr sz="2000" err="1"/>
              <a:t>votre</a:t>
            </a:r>
            <a:r>
              <a:rPr sz="2000"/>
              <a:t> engagement </a:t>
            </a:r>
            <a:r>
              <a:rPr sz="2000" err="1"/>
              <a:t>à</a:t>
            </a:r>
            <a:r>
              <a:rPr sz="2000"/>
              <a:t> faire le </a:t>
            </a:r>
            <a:r>
              <a:rPr sz="2000" err="1"/>
              <a:t>nécessaire</a:t>
            </a:r>
            <a:r>
              <a:rPr sz="2000"/>
              <a:t> pour </a:t>
            </a:r>
            <a:r>
              <a:rPr sz="2000" err="1"/>
              <a:t>obtenir</a:t>
            </a:r>
            <a:r>
              <a:rPr sz="2000"/>
              <a:t> les </a:t>
            </a:r>
            <a:r>
              <a:rPr sz="2000" err="1"/>
              <a:t>changements</a:t>
            </a:r>
            <a:r>
              <a:rPr sz="2000"/>
              <a:t> </a:t>
            </a:r>
            <a:r>
              <a:rPr sz="2000" err="1"/>
              <a:t>escomptés</a:t>
            </a:r>
            <a:r>
              <a:rPr sz="2000"/>
              <a:t>. </a:t>
            </a:r>
          </a:p>
        </p:txBody>
      </p:sp>
    </p:spTree>
    <p:extLst>
      <p:ext uri="{BB962C8B-B14F-4D97-AF65-F5344CB8AC3E}">
        <p14:creationId xmlns:p14="http://schemas.microsoft.com/office/powerpoint/2010/main" val="14238015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685800" y="2097487"/>
            <a:ext cx="7772400" cy="1694415"/>
          </a:xfrm>
        </p:spPr>
        <p:txBody>
          <a:bodyPr/>
          <a:lstStyle/>
          <a:p>
            <a:r>
              <a:t>4. Comment savoir quand quelqu'un pourrait bénéficier de l’aide d'un conseiller psychologue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a:xfrm>
            <a:off x="1143000" y="3847910"/>
            <a:ext cx="6858000" cy="1655762"/>
          </a:xfrm>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1848273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EE029-187A-A74D-8D56-246BB3D4C028}"/>
              </a:ext>
            </a:extLst>
          </p:cNvPr>
          <p:cNvSpPr>
            <a:spLocks noGrp="1"/>
          </p:cNvSpPr>
          <p:nvPr>
            <p:ph type="title"/>
          </p:nvPr>
        </p:nvSpPr>
        <p:spPr>
          <a:xfrm>
            <a:off x="171450" y="136526"/>
            <a:ext cx="9100566" cy="611619"/>
          </a:xfrm>
        </p:spPr>
        <p:txBody>
          <a:bodyPr/>
          <a:lstStyle/>
          <a:p>
            <a:r>
              <a:rPr sz="2400" err="1"/>
              <a:t>L’aide</a:t>
            </a:r>
            <a:r>
              <a:rPr sz="2400"/>
              <a:t> d'un </a:t>
            </a:r>
            <a:r>
              <a:rPr sz="2400" err="1"/>
              <a:t>conseiller</a:t>
            </a:r>
            <a:r>
              <a:rPr sz="2400"/>
              <a:t> </a:t>
            </a:r>
            <a:r>
              <a:rPr sz="2400" err="1"/>
              <a:t>psychologue</a:t>
            </a:r>
            <a:r>
              <a:rPr sz="2400"/>
              <a:t> </a:t>
            </a:r>
            <a:r>
              <a:rPr sz="2400" err="1"/>
              <a:t>peut</a:t>
            </a:r>
            <a:r>
              <a:rPr sz="2400"/>
              <a:t> </a:t>
            </a:r>
            <a:r>
              <a:rPr sz="2400" err="1"/>
              <a:t>être</a:t>
            </a:r>
            <a:r>
              <a:rPr sz="2400"/>
              <a:t> </a:t>
            </a:r>
            <a:r>
              <a:rPr sz="2400" err="1"/>
              <a:t>précieuse</a:t>
            </a:r>
            <a:r>
              <a:rPr sz="2400"/>
              <a:t>...</a:t>
            </a:r>
          </a:p>
        </p:txBody>
      </p:sp>
      <p:sp>
        <p:nvSpPr>
          <p:cNvPr id="3" name="Text Placeholder 2">
            <a:extLst>
              <a:ext uri="{FF2B5EF4-FFF2-40B4-BE49-F238E27FC236}">
                <a16:creationId xmlns:a16="http://schemas.microsoft.com/office/drawing/2014/main" id="{87C17F90-4601-E643-B9DE-4A71BD0B9E93}"/>
              </a:ext>
            </a:extLst>
          </p:cNvPr>
          <p:cNvSpPr>
            <a:spLocks noGrp="1"/>
          </p:cNvSpPr>
          <p:nvPr>
            <p:ph type="body" sz="quarter" idx="10"/>
          </p:nvPr>
        </p:nvSpPr>
        <p:spPr>
          <a:xfrm>
            <a:off x="461963" y="1124465"/>
            <a:ext cx="8311334" cy="4930346"/>
          </a:xfrm>
        </p:spPr>
        <p:txBody>
          <a:bodyPr/>
          <a:lstStyle/>
          <a:p>
            <a:pPr>
              <a:lnSpc>
                <a:spcPct val="100000"/>
              </a:lnSpc>
              <a:spcBef>
                <a:spcPts val="300"/>
              </a:spcBef>
              <a:spcAft>
                <a:spcPts val="300"/>
              </a:spcAft>
            </a:pPr>
            <a:r>
              <a:rPr sz="2000" b="1"/>
              <a:t>Pour </a:t>
            </a:r>
            <a:r>
              <a:rPr sz="2000" b="1" err="1"/>
              <a:t>découvrir</a:t>
            </a:r>
            <a:r>
              <a:rPr sz="2000" b="1"/>
              <a:t> de </a:t>
            </a:r>
            <a:r>
              <a:rPr sz="2000" b="1" err="1"/>
              <a:t>nouvelles</a:t>
            </a:r>
            <a:r>
              <a:rPr sz="2000" b="1"/>
              <a:t> </a:t>
            </a:r>
            <a:r>
              <a:rPr sz="2000" b="1" err="1"/>
              <a:t>stratégies</a:t>
            </a:r>
            <a:r>
              <a:rPr sz="2000" b="1"/>
              <a:t> de</a:t>
            </a:r>
            <a:r>
              <a:rPr sz="2000"/>
              <a:t> </a:t>
            </a:r>
            <a:r>
              <a:rPr sz="2000" b="1" err="1"/>
              <a:t>développement</a:t>
            </a:r>
            <a:r>
              <a:rPr sz="2000" b="1"/>
              <a:t> de la </a:t>
            </a:r>
            <a:r>
              <a:rPr sz="2000" b="1" err="1"/>
              <a:t>résilience</a:t>
            </a:r>
            <a:r>
              <a:rPr sz="2000"/>
              <a:t> et de promotion du bien-</a:t>
            </a:r>
            <a:r>
              <a:rPr sz="2000" err="1"/>
              <a:t>être</a:t>
            </a:r>
            <a:r>
              <a:rPr sz="2000"/>
              <a:t>.</a:t>
            </a:r>
          </a:p>
          <a:p>
            <a:pPr>
              <a:lnSpc>
                <a:spcPct val="100000"/>
              </a:lnSpc>
              <a:spcBef>
                <a:spcPts val="300"/>
              </a:spcBef>
              <a:spcAft>
                <a:spcPts val="300"/>
              </a:spcAft>
            </a:pPr>
            <a:r>
              <a:rPr sz="2000" b="1"/>
              <a:t>Pour </a:t>
            </a:r>
            <a:r>
              <a:rPr sz="2000" b="1" err="1"/>
              <a:t>mieux</a:t>
            </a:r>
            <a:r>
              <a:rPr sz="2000" b="1"/>
              <a:t> </a:t>
            </a:r>
            <a:r>
              <a:rPr sz="2000" b="1" err="1"/>
              <a:t>comprendre</a:t>
            </a:r>
            <a:r>
              <a:rPr sz="2000" b="1"/>
              <a:t> </a:t>
            </a:r>
            <a:r>
              <a:rPr sz="2000" b="1" err="1"/>
              <a:t>ses</a:t>
            </a:r>
            <a:r>
              <a:rPr sz="2000" b="1"/>
              <a:t> pensées et </a:t>
            </a:r>
            <a:r>
              <a:rPr sz="2000" b="1" err="1"/>
              <a:t>ses</a:t>
            </a:r>
            <a:r>
              <a:rPr sz="2000" b="1"/>
              <a:t> </a:t>
            </a:r>
            <a:r>
              <a:rPr sz="2000" b="1" err="1"/>
              <a:t>émotions</a:t>
            </a:r>
            <a:r>
              <a:rPr sz="2000" b="1"/>
              <a:t>. </a:t>
            </a:r>
          </a:p>
          <a:p>
            <a:pPr>
              <a:lnSpc>
                <a:spcPct val="100000"/>
              </a:lnSpc>
              <a:spcBef>
                <a:spcPts val="300"/>
              </a:spcBef>
              <a:spcAft>
                <a:spcPts val="300"/>
              </a:spcAft>
            </a:pPr>
            <a:r>
              <a:rPr sz="2000" b="1"/>
              <a:t>Si </a:t>
            </a:r>
            <a:r>
              <a:rPr sz="2000" b="1" err="1"/>
              <a:t>vos</a:t>
            </a:r>
            <a:r>
              <a:rPr sz="2000" b="1"/>
              <a:t> pensées </a:t>
            </a:r>
            <a:r>
              <a:rPr sz="2000" b="1" err="1"/>
              <a:t>ou</a:t>
            </a:r>
            <a:r>
              <a:rPr sz="2000" b="1"/>
              <a:t> </a:t>
            </a:r>
            <a:r>
              <a:rPr sz="2000" b="1" err="1"/>
              <a:t>vos</a:t>
            </a:r>
            <a:r>
              <a:rPr sz="2000" b="1"/>
              <a:t> </a:t>
            </a:r>
            <a:r>
              <a:rPr sz="2000" b="1" err="1"/>
              <a:t>émotions</a:t>
            </a:r>
            <a:r>
              <a:rPr sz="2000" b="1"/>
              <a:t> </a:t>
            </a:r>
            <a:r>
              <a:rPr sz="2000" b="1" err="1"/>
              <a:t>vous</a:t>
            </a:r>
            <a:r>
              <a:rPr sz="2000" b="1"/>
              <a:t> </a:t>
            </a:r>
            <a:r>
              <a:rPr sz="2000" b="1" err="1"/>
              <a:t>empêchent</a:t>
            </a:r>
            <a:r>
              <a:rPr sz="2000" b="1"/>
              <a:t> de vivre la vie </a:t>
            </a:r>
            <a:r>
              <a:rPr sz="2000" b="1" err="1"/>
              <a:t>à</a:t>
            </a:r>
            <a:r>
              <a:rPr sz="2000" b="1"/>
              <a:t> </a:t>
            </a:r>
            <a:r>
              <a:rPr sz="2000" b="1" err="1"/>
              <a:t>laquelle</a:t>
            </a:r>
            <a:r>
              <a:rPr sz="2000" b="1"/>
              <a:t> </a:t>
            </a:r>
            <a:r>
              <a:rPr sz="2000" b="1" err="1"/>
              <a:t>vous</a:t>
            </a:r>
            <a:r>
              <a:rPr sz="2000" b="1"/>
              <a:t> </a:t>
            </a:r>
            <a:r>
              <a:rPr sz="2000" b="1" err="1"/>
              <a:t>aspirez</a:t>
            </a:r>
            <a:r>
              <a:rPr sz="2000" b="1"/>
              <a:t>. </a:t>
            </a:r>
            <a:r>
              <a:rPr sz="2000"/>
              <a:t>Par </a:t>
            </a:r>
            <a:r>
              <a:rPr sz="2000" err="1"/>
              <a:t>exemple</a:t>
            </a:r>
            <a:r>
              <a:rPr sz="2000"/>
              <a:t> :</a:t>
            </a:r>
          </a:p>
          <a:p>
            <a:pPr lvl="1">
              <a:lnSpc>
                <a:spcPct val="100000"/>
              </a:lnSpc>
              <a:spcBef>
                <a:spcPts val="300"/>
              </a:spcBef>
              <a:spcAft>
                <a:spcPts val="300"/>
              </a:spcAft>
            </a:pPr>
            <a:r>
              <a:rPr sz="2000" err="1"/>
              <a:t>Vous</a:t>
            </a:r>
            <a:r>
              <a:rPr sz="2000"/>
              <a:t> </a:t>
            </a:r>
            <a:r>
              <a:rPr sz="2000" err="1"/>
              <a:t>dormez</a:t>
            </a:r>
            <a:r>
              <a:rPr sz="2000"/>
              <a:t> mal</a:t>
            </a:r>
          </a:p>
          <a:p>
            <a:pPr lvl="1">
              <a:lnSpc>
                <a:spcPct val="100000"/>
              </a:lnSpc>
              <a:spcBef>
                <a:spcPts val="300"/>
              </a:spcBef>
              <a:spcAft>
                <a:spcPts val="300"/>
              </a:spcAft>
            </a:pPr>
            <a:r>
              <a:rPr sz="2000"/>
              <a:t>Il </a:t>
            </a:r>
            <a:r>
              <a:rPr sz="2000" err="1"/>
              <a:t>n’y</a:t>
            </a:r>
            <a:r>
              <a:rPr sz="2000"/>
              <a:t> a pas grand-chose qui </a:t>
            </a:r>
            <a:r>
              <a:rPr sz="2000" err="1"/>
              <a:t>vous</a:t>
            </a:r>
            <a:r>
              <a:rPr sz="2000"/>
              <a:t> </a:t>
            </a:r>
            <a:r>
              <a:rPr sz="2000" err="1"/>
              <a:t>rende</a:t>
            </a:r>
            <a:r>
              <a:rPr sz="2000"/>
              <a:t> </a:t>
            </a:r>
            <a:r>
              <a:rPr sz="2000" err="1"/>
              <a:t>heureux</a:t>
            </a:r>
            <a:r>
              <a:rPr sz="2000"/>
              <a:t> dans </a:t>
            </a:r>
            <a:r>
              <a:rPr sz="2000" err="1"/>
              <a:t>votre</a:t>
            </a:r>
            <a:r>
              <a:rPr sz="2000"/>
              <a:t> vie</a:t>
            </a:r>
          </a:p>
          <a:p>
            <a:pPr lvl="1">
              <a:lnSpc>
                <a:spcPct val="100000"/>
              </a:lnSpc>
              <a:spcBef>
                <a:spcPts val="300"/>
              </a:spcBef>
              <a:spcAft>
                <a:spcPts val="300"/>
              </a:spcAft>
            </a:pPr>
            <a:r>
              <a:rPr sz="2000" err="1"/>
              <a:t>Vous</a:t>
            </a:r>
            <a:r>
              <a:rPr sz="2000"/>
              <a:t> </a:t>
            </a:r>
            <a:r>
              <a:rPr sz="2000" err="1"/>
              <a:t>évitez</a:t>
            </a:r>
            <a:r>
              <a:rPr sz="2000"/>
              <a:t> de faire des choses que </a:t>
            </a:r>
            <a:r>
              <a:rPr sz="2000" err="1"/>
              <a:t>vous</a:t>
            </a:r>
            <a:r>
              <a:rPr sz="2000"/>
              <a:t> </a:t>
            </a:r>
            <a:r>
              <a:rPr sz="2000" err="1"/>
              <a:t>aimez</a:t>
            </a:r>
            <a:r>
              <a:rPr sz="2000"/>
              <a:t> </a:t>
            </a:r>
            <a:r>
              <a:rPr sz="2000" err="1"/>
              <a:t>généralement</a:t>
            </a:r>
            <a:r>
              <a:rPr lang="en-GB" sz="2000"/>
              <a:t> </a:t>
            </a:r>
            <a:r>
              <a:rPr sz="2000"/>
              <a:t>faire</a:t>
            </a:r>
          </a:p>
          <a:p>
            <a:pPr lvl="1">
              <a:lnSpc>
                <a:spcPct val="100000"/>
              </a:lnSpc>
              <a:spcBef>
                <a:spcPts val="300"/>
              </a:spcBef>
              <a:spcAft>
                <a:spcPts val="300"/>
              </a:spcAft>
            </a:pPr>
            <a:r>
              <a:rPr sz="2000" err="1"/>
              <a:t>Vous</a:t>
            </a:r>
            <a:r>
              <a:rPr sz="2000"/>
              <a:t> </a:t>
            </a:r>
            <a:r>
              <a:rPr sz="2000" err="1"/>
              <a:t>vous</a:t>
            </a:r>
            <a:r>
              <a:rPr sz="2000"/>
              <a:t> </a:t>
            </a:r>
            <a:r>
              <a:rPr sz="2000" err="1"/>
              <a:t>sentez</a:t>
            </a:r>
            <a:r>
              <a:rPr sz="2000"/>
              <a:t> </a:t>
            </a:r>
            <a:r>
              <a:rPr sz="2000" err="1"/>
              <a:t>constamment</a:t>
            </a:r>
            <a:r>
              <a:rPr sz="2000"/>
              <a:t> </a:t>
            </a:r>
            <a:r>
              <a:rPr sz="2000" err="1"/>
              <a:t>malheureux</a:t>
            </a:r>
            <a:r>
              <a:rPr sz="2000"/>
              <a:t> </a:t>
            </a:r>
            <a:r>
              <a:rPr sz="2000" err="1"/>
              <a:t>ou</a:t>
            </a:r>
            <a:r>
              <a:rPr sz="2000"/>
              <a:t> </a:t>
            </a:r>
            <a:r>
              <a:rPr sz="2000" err="1"/>
              <a:t>anxieux</a:t>
            </a:r>
            <a:r>
              <a:rPr sz="2000"/>
              <a:t> </a:t>
            </a:r>
          </a:p>
          <a:p>
            <a:pPr lvl="1">
              <a:lnSpc>
                <a:spcPct val="100000"/>
              </a:lnSpc>
              <a:spcBef>
                <a:spcPts val="300"/>
              </a:spcBef>
              <a:spcAft>
                <a:spcPts val="300"/>
              </a:spcAft>
            </a:pPr>
            <a:r>
              <a:rPr sz="2000" err="1"/>
              <a:t>Vous</a:t>
            </a:r>
            <a:r>
              <a:rPr sz="2000"/>
              <a:t> </a:t>
            </a:r>
            <a:r>
              <a:rPr sz="2000" err="1"/>
              <a:t>vous</a:t>
            </a:r>
            <a:r>
              <a:rPr sz="2000"/>
              <a:t> </a:t>
            </a:r>
            <a:r>
              <a:rPr sz="2000" err="1"/>
              <a:t>sentez</a:t>
            </a:r>
            <a:r>
              <a:rPr sz="2000"/>
              <a:t> </a:t>
            </a:r>
            <a:r>
              <a:rPr sz="2000" err="1"/>
              <a:t>dépassé</a:t>
            </a:r>
            <a:r>
              <a:rPr sz="2000"/>
              <a:t> </a:t>
            </a:r>
            <a:r>
              <a:rPr sz="2000" err="1"/>
              <a:t>ou</a:t>
            </a:r>
            <a:r>
              <a:rPr sz="2000"/>
              <a:t> </a:t>
            </a:r>
            <a:r>
              <a:rPr sz="2000" err="1"/>
              <a:t>coincé</a:t>
            </a:r>
            <a:endParaRPr sz="2000"/>
          </a:p>
        </p:txBody>
      </p:sp>
    </p:spTree>
    <p:extLst>
      <p:ext uri="{BB962C8B-B14F-4D97-AF65-F5344CB8AC3E}">
        <p14:creationId xmlns:p14="http://schemas.microsoft.com/office/powerpoint/2010/main" val="37133254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F5E91-12A8-4242-A407-419E350AE710}"/>
              </a:ext>
            </a:extLst>
          </p:cNvPr>
          <p:cNvSpPr>
            <a:spLocks noGrp="1"/>
          </p:cNvSpPr>
          <p:nvPr>
            <p:ph type="title"/>
          </p:nvPr>
        </p:nvSpPr>
        <p:spPr>
          <a:xfrm>
            <a:off x="171450" y="136526"/>
            <a:ext cx="8972550" cy="611619"/>
          </a:xfrm>
        </p:spPr>
        <p:txBody>
          <a:bodyPr/>
          <a:lstStyle/>
          <a:p>
            <a:r>
              <a:rPr sz="2000"/>
              <a:t>Il </a:t>
            </a:r>
            <a:r>
              <a:rPr sz="2000" err="1"/>
              <a:t>est</a:t>
            </a:r>
            <a:r>
              <a:rPr sz="2000"/>
              <a:t> </a:t>
            </a:r>
            <a:r>
              <a:rPr sz="2000" err="1"/>
              <a:t>fortement</a:t>
            </a:r>
            <a:r>
              <a:rPr sz="2000"/>
              <a:t> </a:t>
            </a:r>
            <a:r>
              <a:rPr sz="2000" err="1"/>
              <a:t>recommandé</a:t>
            </a:r>
            <a:r>
              <a:rPr sz="2000"/>
              <a:t> de </a:t>
            </a:r>
            <a:r>
              <a:rPr sz="2000" err="1"/>
              <a:t>s’adresser</a:t>
            </a:r>
            <a:r>
              <a:rPr sz="2000"/>
              <a:t> </a:t>
            </a:r>
            <a:r>
              <a:rPr sz="2000" err="1"/>
              <a:t>à</a:t>
            </a:r>
            <a:r>
              <a:rPr sz="2000"/>
              <a:t> un </a:t>
            </a:r>
            <a:r>
              <a:rPr sz="2000" err="1"/>
              <a:t>conseiller</a:t>
            </a:r>
            <a:r>
              <a:rPr sz="2000"/>
              <a:t> </a:t>
            </a:r>
            <a:r>
              <a:rPr sz="2000" err="1"/>
              <a:t>psychologue</a:t>
            </a:r>
            <a:r>
              <a:rPr sz="2000"/>
              <a:t> </a:t>
            </a:r>
            <a:r>
              <a:rPr sz="2000" err="1"/>
              <a:t>si</a:t>
            </a:r>
            <a:r>
              <a:rPr sz="2000"/>
              <a:t>...</a:t>
            </a:r>
          </a:p>
        </p:txBody>
      </p:sp>
      <p:sp>
        <p:nvSpPr>
          <p:cNvPr id="3" name="Text Placeholder 2">
            <a:extLst>
              <a:ext uri="{FF2B5EF4-FFF2-40B4-BE49-F238E27FC236}">
                <a16:creationId xmlns:a16="http://schemas.microsoft.com/office/drawing/2014/main" id="{3E260815-B19A-864D-AB3C-1D4DC3F99D40}"/>
              </a:ext>
            </a:extLst>
          </p:cNvPr>
          <p:cNvSpPr>
            <a:spLocks noGrp="1"/>
          </p:cNvSpPr>
          <p:nvPr>
            <p:ph type="body" sz="quarter" idx="10"/>
          </p:nvPr>
        </p:nvSpPr>
        <p:spPr>
          <a:xfrm>
            <a:off x="406207" y="945453"/>
            <a:ext cx="8239125" cy="4809782"/>
          </a:xfrm>
        </p:spPr>
        <p:txBody>
          <a:bodyPr/>
          <a:lstStyle/>
          <a:p>
            <a:pPr marL="457200" indent="-457200">
              <a:lnSpc>
                <a:spcPct val="100000"/>
              </a:lnSpc>
              <a:buFont typeface="+mj-lt"/>
              <a:buAutoNum type="arabicPeriod"/>
            </a:pPr>
            <a:r>
              <a:rPr sz="1800" b="1" err="1"/>
              <a:t>Vous</a:t>
            </a:r>
            <a:r>
              <a:rPr sz="1800" b="1"/>
              <a:t> </a:t>
            </a:r>
            <a:r>
              <a:rPr sz="1800" b="1" err="1"/>
              <a:t>savez</a:t>
            </a:r>
            <a:r>
              <a:rPr sz="1800" b="1"/>
              <a:t> que </a:t>
            </a:r>
            <a:r>
              <a:rPr sz="1800" b="1" err="1"/>
              <a:t>votre</a:t>
            </a:r>
            <a:r>
              <a:rPr sz="1800" b="1"/>
              <a:t> </a:t>
            </a:r>
            <a:r>
              <a:rPr sz="1800" b="1" err="1"/>
              <a:t>comportement</a:t>
            </a:r>
            <a:r>
              <a:rPr sz="1800" b="1"/>
              <a:t> </a:t>
            </a:r>
            <a:r>
              <a:rPr sz="1800" b="1" err="1"/>
              <a:t>est</a:t>
            </a:r>
            <a:r>
              <a:rPr sz="1800" b="1"/>
              <a:t> </a:t>
            </a:r>
            <a:r>
              <a:rPr sz="1800" b="1" err="1"/>
              <a:t>nocif</a:t>
            </a:r>
            <a:r>
              <a:rPr sz="1800" b="1"/>
              <a:t> et que </a:t>
            </a:r>
            <a:r>
              <a:rPr sz="1800" b="1" err="1"/>
              <a:t>vous</a:t>
            </a:r>
            <a:r>
              <a:rPr sz="1800" b="1"/>
              <a:t> </a:t>
            </a:r>
            <a:r>
              <a:rPr sz="1800" b="1" err="1"/>
              <a:t>voulez</a:t>
            </a:r>
            <a:r>
              <a:rPr sz="1800" b="1"/>
              <a:t> y </a:t>
            </a:r>
            <a:r>
              <a:rPr sz="1800" b="1" err="1"/>
              <a:t>mettre</a:t>
            </a:r>
            <a:r>
              <a:rPr sz="1800" b="1"/>
              <a:t> un </a:t>
            </a:r>
            <a:r>
              <a:rPr sz="1800" b="1" err="1"/>
              <a:t>terme</a:t>
            </a:r>
            <a:r>
              <a:rPr sz="1800" b="1"/>
              <a:t>. </a:t>
            </a:r>
            <a:r>
              <a:rPr sz="1800"/>
              <a:t>Par </a:t>
            </a:r>
            <a:r>
              <a:rPr sz="1800" err="1"/>
              <a:t>exemple</a:t>
            </a:r>
            <a:r>
              <a:rPr sz="1800"/>
              <a:t> :</a:t>
            </a:r>
          </a:p>
          <a:p>
            <a:pPr lvl="1">
              <a:lnSpc>
                <a:spcPct val="100000"/>
              </a:lnSpc>
            </a:pPr>
            <a:r>
              <a:rPr sz="1800" err="1"/>
              <a:t>Surmenage</a:t>
            </a:r>
            <a:r>
              <a:rPr sz="1800"/>
              <a:t> </a:t>
            </a:r>
            <a:r>
              <a:rPr sz="1800" err="1"/>
              <a:t>chronique</a:t>
            </a:r>
            <a:endParaRPr sz="1800"/>
          </a:p>
          <a:p>
            <a:pPr lvl="1">
              <a:lnSpc>
                <a:spcPct val="100000"/>
              </a:lnSpc>
            </a:pPr>
            <a:r>
              <a:rPr sz="1800" err="1"/>
              <a:t>Automutilation</a:t>
            </a:r>
            <a:r>
              <a:rPr sz="1800"/>
              <a:t> </a:t>
            </a:r>
            <a:r>
              <a:rPr sz="1800" err="1"/>
              <a:t>ou</a:t>
            </a:r>
            <a:r>
              <a:rPr sz="1800"/>
              <a:t> </a:t>
            </a:r>
            <a:r>
              <a:rPr sz="1800" err="1"/>
              <a:t>comportements</a:t>
            </a:r>
            <a:r>
              <a:rPr sz="1800"/>
              <a:t> </a:t>
            </a:r>
            <a:r>
              <a:rPr sz="1800" err="1"/>
              <a:t>risqués</a:t>
            </a:r>
            <a:r>
              <a:rPr sz="1800"/>
              <a:t> </a:t>
            </a:r>
          </a:p>
          <a:p>
            <a:pPr lvl="1">
              <a:lnSpc>
                <a:spcPct val="100000"/>
              </a:lnSpc>
            </a:pPr>
            <a:r>
              <a:rPr sz="1800" err="1"/>
              <a:t>Consommation</a:t>
            </a:r>
            <a:r>
              <a:rPr sz="1800"/>
              <a:t> de substances </a:t>
            </a:r>
            <a:r>
              <a:rPr sz="1800" err="1"/>
              <a:t>comme</a:t>
            </a:r>
            <a:r>
              <a:rPr sz="1800"/>
              <a:t> </a:t>
            </a:r>
            <a:r>
              <a:rPr sz="1800" err="1"/>
              <a:t>l’alcool</a:t>
            </a:r>
            <a:r>
              <a:rPr sz="1800"/>
              <a:t>, la nicotine et/</a:t>
            </a:r>
            <a:r>
              <a:rPr sz="1800" err="1"/>
              <a:t>ou</a:t>
            </a:r>
            <a:r>
              <a:rPr sz="1800"/>
              <a:t> la </a:t>
            </a:r>
            <a:r>
              <a:rPr sz="1800" err="1"/>
              <a:t>nourriture</a:t>
            </a:r>
            <a:r>
              <a:rPr sz="1800"/>
              <a:t> pour </a:t>
            </a:r>
            <a:r>
              <a:rPr sz="1800" err="1"/>
              <a:t>vous</a:t>
            </a:r>
            <a:r>
              <a:rPr sz="1800"/>
              <a:t> aider </a:t>
            </a:r>
            <a:r>
              <a:rPr sz="1800" err="1"/>
              <a:t>à</a:t>
            </a:r>
            <a:r>
              <a:rPr sz="1800"/>
              <a:t> </a:t>
            </a:r>
            <a:r>
              <a:rPr sz="1800" err="1"/>
              <a:t>gérer</a:t>
            </a:r>
            <a:r>
              <a:rPr sz="1800"/>
              <a:t> </a:t>
            </a:r>
            <a:r>
              <a:rPr sz="1800" err="1"/>
              <a:t>une</a:t>
            </a:r>
            <a:r>
              <a:rPr sz="1800"/>
              <a:t> situation et </a:t>
            </a:r>
            <a:r>
              <a:rPr sz="1800" err="1"/>
              <a:t>à</a:t>
            </a:r>
            <a:r>
              <a:rPr sz="1800"/>
              <a:t> </a:t>
            </a:r>
            <a:r>
              <a:rPr sz="1800" err="1"/>
              <a:t>vous</a:t>
            </a:r>
            <a:r>
              <a:rPr sz="1800"/>
              <a:t> y adapter</a:t>
            </a:r>
          </a:p>
          <a:p>
            <a:pPr lvl="1">
              <a:lnSpc>
                <a:spcPct val="100000"/>
              </a:lnSpc>
            </a:pPr>
            <a:r>
              <a:rPr sz="1800"/>
              <a:t>Se </a:t>
            </a:r>
            <a:r>
              <a:rPr sz="1800" err="1"/>
              <a:t>décharger</a:t>
            </a:r>
            <a:r>
              <a:rPr sz="1800"/>
              <a:t> de </a:t>
            </a:r>
            <a:r>
              <a:rPr sz="1800" err="1"/>
              <a:t>sa</a:t>
            </a:r>
            <a:r>
              <a:rPr sz="1800"/>
              <a:t> </a:t>
            </a:r>
            <a:r>
              <a:rPr sz="1800" err="1"/>
              <a:t>colère</a:t>
            </a:r>
            <a:r>
              <a:rPr sz="1800"/>
              <a:t> sur les </a:t>
            </a:r>
            <a:r>
              <a:rPr sz="1800" err="1"/>
              <a:t>autres</a:t>
            </a:r>
            <a:r>
              <a:rPr sz="1800"/>
              <a:t>, </a:t>
            </a:r>
            <a:r>
              <a:rPr sz="1800" err="1"/>
              <a:t>blesser</a:t>
            </a:r>
            <a:r>
              <a:rPr sz="1800"/>
              <a:t> les </a:t>
            </a:r>
            <a:r>
              <a:rPr sz="1800" err="1"/>
              <a:t>autres</a:t>
            </a:r>
            <a:r>
              <a:rPr sz="1800"/>
              <a:t> par </a:t>
            </a:r>
            <a:r>
              <a:rPr sz="1800" err="1"/>
              <a:t>ses</a:t>
            </a:r>
            <a:r>
              <a:rPr sz="1800"/>
              <a:t> paroles </a:t>
            </a:r>
            <a:r>
              <a:rPr sz="1800" err="1"/>
              <a:t>ou</a:t>
            </a:r>
            <a:r>
              <a:rPr sz="1800"/>
              <a:t> </a:t>
            </a:r>
            <a:r>
              <a:rPr sz="1800" err="1"/>
              <a:t>ses</a:t>
            </a:r>
            <a:r>
              <a:rPr sz="1800"/>
              <a:t> actions</a:t>
            </a:r>
          </a:p>
          <a:p>
            <a:pPr marL="457200" indent="-457200">
              <a:lnSpc>
                <a:spcPct val="100000"/>
              </a:lnSpc>
              <a:buFont typeface="+mj-lt"/>
              <a:buAutoNum type="arabicPeriod"/>
            </a:pPr>
            <a:r>
              <a:rPr sz="1800" b="1" err="1"/>
              <a:t>Vous</a:t>
            </a:r>
            <a:r>
              <a:rPr sz="1800" b="1"/>
              <a:t> </a:t>
            </a:r>
            <a:r>
              <a:rPr sz="1800" b="1" err="1"/>
              <a:t>éprouvez</a:t>
            </a:r>
            <a:r>
              <a:rPr sz="1800" b="1"/>
              <a:t> : </a:t>
            </a:r>
            <a:endParaRPr lang="en-US" sz="1800" b="1"/>
          </a:p>
          <a:p>
            <a:pPr lvl="1">
              <a:lnSpc>
                <a:spcPct val="100000"/>
              </a:lnSpc>
            </a:pPr>
            <a:r>
              <a:rPr sz="1800"/>
              <a:t>Une </a:t>
            </a:r>
            <a:r>
              <a:rPr sz="1800" err="1"/>
              <a:t>anxiété</a:t>
            </a:r>
            <a:r>
              <a:rPr sz="1800"/>
              <a:t> </a:t>
            </a:r>
            <a:r>
              <a:rPr sz="1800" err="1"/>
              <a:t>ou</a:t>
            </a:r>
            <a:r>
              <a:rPr sz="1800"/>
              <a:t> </a:t>
            </a:r>
            <a:r>
              <a:rPr sz="1800" err="1"/>
              <a:t>une</a:t>
            </a:r>
            <a:r>
              <a:rPr sz="1800"/>
              <a:t> </a:t>
            </a:r>
            <a:r>
              <a:rPr sz="1800" err="1"/>
              <a:t>dépression</a:t>
            </a:r>
            <a:r>
              <a:rPr sz="1800"/>
              <a:t> </a:t>
            </a:r>
            <a:r>
              <a:rPr sz="1800" err="1"/>
              <a:t>importantes</a:t>
            </a:r>
            <a:r>
              <a:rPr sz="1800"/>
              <a:t> et durables</a:t>
            </a:r>
          </a:p>
          <a:p>
            <a:pPr lvl="1">
              <a:lnSpc>
                <a:spcPct val="100000"/>
              </a:lnSpc>
            </a:pPr>
            <a:r>
              <a:rPr sz="1800"/>
              <a:t>Des </a:t>
            </a:r>
            <a:r>
              <a:rPr sz="1800" err="1"/>
              <a:t>symptômes</a:t>
            </a:r>
            <a:r>
              <a:rPr sz="1800"/>
              <a:t> </a:t>
            </a:r>
            <a:r>
              <a:rPr sz="1800" err="1"/>
              <a:t>psychologiques</a:t>
            </a:r>
            <a:r>
              <a:rPr sz="1800"/>
              <a:t> </a:t>
            </a:r>
            <a:r>
              <a:rPr sz="1800" err="1"/>
              <a:t>intenses</a:t>
            </a:r>
            <a:r>
              <a:rPr sz="1800"/>
              <a:t> </a:t>
            </a:r>
            <a:r>
              <a:rPr sz="1800" err="1"/>
              <a:t>comme</a:t>
            </a:r>
            <a:r>
              <a:rPr sz="1800"/>
              <a:t> le sentiment d’être </a:t>
            </a:r>
            <a:r>
              <a:rPr sz="1800" err="1"/>
              <a:t>totalement</a:t>
            </a:r>
            <a:r>
              <a:rPr sz="1800"/>
              <a:t> </a:t>
            </a:r>
            <a:r>
              <a:rPr sz="1800" err="1"/>
              <a:t>submergé</a:t>
            </a:r>
            <a:r>
              <a:rPr sz="1800"/>
              <a:t> </a:t>
            </a:r>
            <a:r>
              <a:rPr sz="1800" err="1"/>
              <a:t>ou</a:t>
            </a:r>
            <a:r>
              <a:rPr sz="1800"/>
              <a:t> </a:t>
            </a:r>
            <a:r>
              <a:rPr sz="1800" err="1"/>
              <a:t>anesthésié</a:t>
            </a:r>
            <a:r>
              <a:rPr sz="1800"/>
              <a:t>, de </a:t>
            </a:r>
            <a:r>
              <a:rPr sz="1800" err="1"/>
              <a:t>l’amnésie</a:t>
            </a:r>
            <a:r>
              <a:rPr sz="1800"/>
              <a:t> </a:t>
            </a:r>
            <a:r>
              <a:rPr sz="1800" err="1"/>
              <a:t>ou</a:t>
            </a:r>
            <a:r>
              <a:rPr sz="1800"/>
              <a:t> des flashbacks</a:t>
            </a:r>
          </a:p>
          <a:p>
            <a:pPr lvl="1">
              <a:lnSpc>
                <a:spcPct val="100000"/>
              </a:lnSpc>
            </a:pPr>
            <a:r>
              <a:rPr sz="1800" err="1"/>
              <a:t>Pulsions</a:t>
            </a:r>
            <a:r>
              <a:rPr sz="1800"/>
              <a:t> </a:t>
            </a:r>
            <a:r>
              <a:rPr sz="1800" err="1"/>
              <a:t>violentes</a:t>
            </a:r>
            <a:r>
              <a:rPr sz="1800"/>
              <a:t> vis-à-vis </a:t>
            </a:r>
            <a:r>
              <a:rPr sz="1800" err="1"/>
              <a:t>d’autres</a:t>
            </a:r>
            <a:r>
              <a:rPr sz="1800"/>
              <a:t> </a:t>
            </a:r>
            <a:r>
              <a:rPr sz="1800" err="1"/>
              <a:t>personnes</a:t>
            </a:r>
            <a:r>
              <a:rPr sz="1800"/>
              <a:t> </a:t>
            </a:r>
            <a:r>
              <a:rPr sz="1800" err="1"/>
              <a:t>ou</a:t>
            </a:r>
            <a:r>
              <a:rPr sz="1800"/>
              <a:t> </a:t>
            </a:r>
            <a:r>
              <a:rPr sz="1800" err="1"/>
              <a:t>pulsions</a:t>
            </a:r>
            <a:r>
              <a:rPr sz="1800"/>
              <a:t> </a:t>
            </a:r>
            <a:r>
              <a:rPr sz="1800" err="1"/>
              <a:t>suicidaires</a:t>
            </a:r>
            <a:endParaRPr sz="1800"/>
          </a:p>
          <a:p>
            <a:endParaRPr lang="en-US" sz="1800"/>
          </a:p>
        </p:txBody>
      </p:sp>
    </p:spTree>
    <p:extLst>
      <p:ext uri="{BB962C8B-B14F-4D97-AF65-F5344CB8AC3E}">
        <p14:creationId xmlns:p14="http://schemas.microsoft.com/office/powerpoint/2010/main" val="20931764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F5E91-12A8-4242-A407-419E350AE710}"/>
              </a:ext>
            </a:extLst>
          </p:cNvPr>
          <p:cNvSpPr>
            <a:spLocks noGrp="1"/>
          </p:cNvSpPr>
          <p:nvPr>
            <p:ph type="title"/>
          </p:nvPr>
        </p:nvSpPr>
        <p:spPr>
          <a:xfrm>
            <a:off x="171450" y="136526"/>
            <a:ext cx="8972550" cy="611619"/>
          </a:xfrm>
        </p:spPr>
        <p:txBody>
          <a:bodyPr/>
          <a:lstStyle/>
          <a:p>
            <a:r>
              <a:rPr sz="2000"/>
              <a:t>Il </a:t>
            </a:r>
            <a:r>
              <a:rPr sz="2000" err="1"/>
              <a:t>est</a:t>
            </a:r>
            <a:r>
              <a:rPr sz="2000"/>
              <a:t> </a:t>
            </a:r>
            <a:r>
              <a:rPr sz="2000" err="1"/>
              <a:t>fortement</a:t>
            </a:r>
            <a:r>
              <a:rPr sz="2000"/>
              <a:t> </a:t>
            </a:r>
            <a:r>
              <a:rPr sz="2000" err="1"/>
              <a:t>recommandé</a:t>
            </a:r>
            <a:r>
              <a:rPr sz="2000"/>
              <a:t> de </a:t>
            </a:r>
            <a:r>
              <a:rPr sz="2000" err="1"/>
              <a:t>s’adresser</a:t>
            </a:r>
            <a:r>
              <a:rPr sz="2000"/>
              <a:t> </a:t>
            </a:r>
            <a:r>
              <a:rPr sz="2000" err="1"/>
              <a:t>à</a:t>
            </a:r>
            <a:r>
              <a:rPr sz="2000"/>
              <a:t> un </a:t>
            </a:r>
            <a:r>
              <a:rPr sz="2000" err="1"/>
              <a:t>conseiller</a:t>
            </a:r>
            <a:r>
              <a:rPr sz="2000"/>
              <a:t> </a:t>
            </a:r>
            <a:r>
              <a:rPr sz="2000" err="1"/>
              <a:t>psychologue</a:t>
            </a:r>
            <a:r>
              <a:rPr sz="2000"/>
              <a:t> </a:t>
            </a:r>
            <a:r>
              <a:rPr sz="2000" err="1"/>
              <a:t>si</a:t>
            </a:r>
            <a:r>
              <a:rPr sz="2000"/>
              <a:t>...</a:t>
            </a:r>
          </a:p>
        </p:txBody>
      </p:sp>
      <p:sp>
        <p:nvSpPr>
          <p:cNvPr id="3" name="Text Placeholder 2">
            <a:extLst>
              <a:ext uri="{FF2B5EF4-FFF2-40B4-BE49-F238E27FC236}">
                <a16:creationId xmlns:a16="http://schemas.microsoft.com/office/drawing/2014/main" id="{3E260815-B19A-864D-AB3C-1D4DC3F99D40}"/>
              </a:ext>
            </a:extLst>
          </p:cNvPr>
          <p:cNvSpPr>
            <a:spLocks noGrp="1"/>
          </p:cNvSpPr>
          <p:nvPr>
            <p:ph type="body" sz="quarter" idx="10"/>
          </p:nvPr>
        </p:nvSpPr>
        <p:spPr>
          <a:xfrm>
            <a:off x="414338" y="959741"/>
            <a:ext cx="8443912" cy="5155310"/>
          </a:xfrm>
        </p:spPr>
        <p:txBody>
          <a:bodyPr/>
          <a:lstStyle/>
          <a:p>
            <a:pPr marL="457200" indent="-457200">
              <a:lnSpc>
                <a:spcPct val="100000"/>
              </a:lnSpc>
              <a:spcBef>
                <a:spcPts val="400"/>
              </a:spcBef>
              <a:spcAft>
                <a:spcPts val="400"/>
              </a:spcAft>
              <a:buFont typeface="+mj-lt"/>
              <a:buAutoNum type="arabicPeriod" startAt="3"/>
            </a:pPr>
            <a:r>
              <a:rPr sz="2000" b="1" err="1"/>
              <a:t>Vous</a:t>
            </a:r>
            <a:r>
              <a:rPr sz="2000" b="1"/>
              <a:t> </a:t>
            </a:r>
            <a:r>
              <a:rPr sz="2000" b="1" err="1"/>
              <a:t>vivez</a:t>
            </a:r>
            <a:r>
              <a:rPr sz="2000" b="1"/>
              <a:t> un </a:t>
            </a:r>
            <a:r>
              <a:rPr sz="2000" b="1" err="1"/>
              <a:t>événement</a:t>
            </a:r>
            <a:r>
              <a:rPr sz="2000" b="1"/>
              <a:t> </a:t>
            </a:r>
            <a:r>
              <a:rPr sz="2000" b="1" err="1"/>
              <a:t>très</a:t>
            </a:r>
            <a:r>
              <a:rPr sz="2000" b="1"/>
              <a:t> difficile </a:t>
            </a:r>
            <a:r>
              <a:rPr sz="2000"/>
              <a:t>(p. ex. un grave accident de la route, un incident </a:t>
            </a:r>
            <a:r>
              <a:rPr sz="2000" err="1"/>
              <a:t>menaçant</a:t>
            </a:r>
            <a:r>
              <a:rPr sz="2000"/>
              <a:t> </a:t>
            </a:r>
            <a:r>
              <a:rPr sz="2000" err="1"/>
              <a:t>ou</a:t>
            </a:r>
            <a:r>
              <a:rPr sz="2000"/>
              <a:t> violent)</a:t>
            </a:r>
          </a:p>
          <a:p>
            <a:pPr lvl="1">
              <a:lnSpc>
                <a:spcPct val="100000"/>
              </a:lnSpc>
              <a:spcBef>
                <a:spcPts val="400"/>
              </a:spcBef>
              <a:spcAft>
                <a:spcPts val="400"/>
              </a:spcAft>
            </a:pPr>
            <a:r>
              <a:rPr sz="2000" err="1"/>
              <a:t>Ces</a:t>
            </a:r>
            <a:r>
              <a:rPr sz="2000"/>
              <a:t> types </a:t>
            </a:r>
            <a:r>
              <a:rPr sz="2000" err="1"/>
              <a:t>d’événements</a:t>
            </a:r>
            <a:r>
              <a:rPr sz="2000"/>
              <a:t> </a:t>
            </a:r>
            <a:r>
              <a:rPr sz="2000" err="1"/>
              <a:t>sont</a:t>
            </a:r>
            <a:r>
              <a:rPr sz="2000"/>
              <a:t> </a:t>
            </a:r>
            <a:r>
              <a:rPr sz="2000" err="1"/>
              <a:t>souvent</a:t>
            </a:r>
            <a:r>
              <a:rPr sz="2000"/>
              <a:t> </a:t>
            </a:r>
            <a:r>
              <a:rPr sz="2000" err="1"/>
              <a:t>dénommés</a:t>
            </a:r>
            <a:r>
              <a:rPr sz="2000"/>
              <a:t> « incidents critiques »</a:t>
            </a:r>
          </a:p>
          <a:p>
            <a:pPr lvl="1">
              <a:lnSpc>
                <a:spcPct val="100000"/>
              </a:lnSpc>
              <a:spcBef>
                <a:spcPts val="400"/>
              </a:spcBef>
              <a:spcAft>
                <a:spcPts val="400"/>
              </a:spcAft>
            </a:pPr>
            <a:r>
              <a:rPr sz="2000"/>
              <a:t>Il </a:t>
            </a:r>
            <a:r>
              <a:rPr sz="2000" err="1"/>
              <a:t>est</a:t>
            </a:r>
            <a:r>
              <a:rPr sz="2000"/>
              <a:t> normal </a:t>
            </a:r>
            <a:r>
              <a:rPr sz="2000" err="1"/>
              <a:t>d’éprouver</a:t>
            </a:r>
            <a:r>
              <a:rPr sz="2000"/>
              <a:t> des </a:t>
            </a:r>
            <a:r>
              <a:rPr sz="2000" err="1"/>
              <a:t>réactions</a:t>
            </a:r>
            <a:r>
              <a:rPr sz="2000"/>
              <a:t> de stress intense </a:t>
            </a:r>
            <a:r>
              <a:rPr sz="2000" err="1"/>
              <a:t>durant</a:t>
            </a:r>
            <a:r>
              <a:rPr sz="2000"/>
              <a:t> les </a:t>
            </a:r>
            <a:r>
              <a:rPr sz="2000" err="1"/>
              <a:t>jours</a:t>
            </a:r>
            <a:r>
              <a:rPr sz="2000"/>
              <a:t> et </a:t>
            </a:r>
            <a:r>
              <a:rPr sz="2000" err="1"/>
              <a:t>semaines</a:t>
            </a:r>
            <a:r>
              <a:rPr sz="2000"/>
              <a:t> qui </a:t>
            </a:r>
            <a:r>
              <a:rPr sz="2000" err="1"/>
              <a:t>suivent</a:t>
            </a:r>
            <a:r>
              <a:rPr sz="2000"/>
              <a:t> un incident critique. Par </a:t>
            </a:r>
            <a:r>
              <a:rPr sz="2000" err="1"/>
              <a:t>exemple</a:t>
            </a:r>
            <a:r>
              <a:rPr sz="2000"/>
              <a:t> : </a:t>
            </a:r>
          </a:p>
          <a:p>
            <a:pPr lvl="2">
              <a:lnSpc>
                <a:spcPct val="100000"/>
              </a:lnSpc>
              <a:spcBef>
                <a:spcPts val="400"/>
              </a:spcBef>
              <a:spcAft>
                <a:spcPts val="400"/>
              </a:spcAft>
            </a:pPr>
            <a:r>
              <a:rPr sz="1800" err="1"/>
              <a:t>Difficultés</a:t>
            </a:r>
            <a:r>
              <a:rPr sz="1800"/>
              <a:t> </a:t>
            </a:r>
            <a:r>
              <a:rPr sz="1800" err="1"/>
              <a:t>à</a:t>
            </a:r>
            <a:r>
              <a:rPr sz="1800"/>
              <a:t> </a:t>
            </a:r>
            <a:r>
              <a:rPr sz="1800" err="1"/>
              <a:t>dormir</a:t>
            </a:r>
            <a:r>
              <a:rPr sz="1800"/>
              <a:t> et </a:t>
            </a:r>
            <a:r>
              <a:rPr sz="1800" err="1"/>
              <a:t>à</a:t>
            </a:r>
            <a:r>
              <a:rPr sz="1800"/>
              <a:t> se </a:t>
            </a:r>
            <a:r>
              <a:rPr sz="1800" err="1"/>
              <a:t>détendre</a:t>
            </a:r>
            <a:r>
              <a:rPr sz="1800"/>
              <a:t> </a:t>
            </a:r>
          </a:p>
          <a:p>
            <a:pPr lvl="2">
              <a:lnSpc>
                <a:spcPct val="100000"/>
              </a:lnSpc>
              <a:spcBef>
                <a:spcPts val="400"/>
              </a:spcBef>
              <a:spcAft>
                <a:spcPts val="400"/>
              </a:spcAft>
            </a:pPr>
            <a:r>
              <a:rPr sz="1800" err="1"/>
              <a:t>Difficultés</a:t>
            </a:r>
            <a:r>
              <a:rPr sz="1800"/>
              <a:t> </a:t>
            </a:r>
            <a:r>
              <a:rPr sz="1800" err="1"/>
              <a:t>à</a:t>
            </a:r>
            <a:r>
              <a:rPr sz="1800"/>
              <a:t> se </a:t>
            </a:r>
            <a:r>
              <a:rPr sz="1800" err="1"/>
              <a:t>concentrer</a:t>
            </a:r>
            <a:r>
              <a:rPr sz="1800"/>
              <a:t> et </a:t>
            </a:r>
            <a:r>
              <a:rPr sz="1800" err="1"/>
              <a:t>à</a:t>
            </a:r>
            <a:r>
              <a:rPr sz="1800"/>
              <a:t> prendre des </a:t>
            </a:r>
            <a:r>
              <a:rPr sz="1800" err="1"/>
              <a:t>décisions</a:t>
            </a:r>
            <a:endParaRPr sz="1800"/>
          </a:p>
          <a:p>
            <a:pPr lvl="2">
              <a:lnSpc>
                <a:spcPct val="100000"/>
              </a:lnSpc>
              <a:spcBef>
                <a:spcPts val="400"/>
              </a:spcBef>
              <a:spcAft>
                <a:spcPts val="400"/>
              </a:spcAft>
            </a:pPr>
            <a:r>
              <a:rPr sz="1800" err="1"/>
              <a:t>Émotions</a:t>
            </a:r>
            <a:r>
              <a:rPr sz="1800"/>
              <a:t> </a:t>
            </a:r>
            <a:r>
              <a:rPr sz="1800" err="1"/>
              <a:t>intenses</a:t>
            </a:r>
            <a:r>
              <a:rPr sz="1800"/>
              <a:t> (p. ex. </a:t>
            </a:r>
            <a:r>
              <a:rPr sz="1800" err="1"/>
              <a:t>culpabilité</a:t>
            </a:r>
            <a:r>
              <a:rPr sz="1800"/>
              <a:t>, </a:t>
            </a:r>
            <a:r>
              <a:rPr sz="1800" err="1"/>
              <a:t>peur</a:t>
            </a:r>
            <a:r>
              <a:rPr sz="1800"/>
              <a:t>, </a:t>
            </a:r>
            <a:r>
              <a:rPr sz="1800" err="1"/>
              <a:t>tristesse</a:t>
            </a:r>
            <a:r>
              <a:rPr sz="1800"/>
              <a:t>)</a:t>
            </a:r>
          </a:p>
          <a:p>
            <a:pPr lvl="2">
              <a:lnSpc>
                <a:spcPct val="100000"/>
              </a:lnSpc>
              <a:spcBef>
                <a:spcPts val="400"/>
              </a:spcBef>
              <a:spcAft>
                <a:spcPts val="400"/>
              </a:spcAft>
            </a:pPr>
            <a:r>
              <a:rPr sz="1800"/>
              <a:t>Sentiments </a:t>
            </a:r>
            <a:r>
              <a:rPr sz="1800" err="1"/>
              <a:t>liés</a:t>
            </a:r>
            <a:r>
              <a:rPr sz="1800"/>
              <a:t> </a:t>
            </a:r>
            <a:r>
              <a:rPr sz="1800" err="1"/>
              <a:t>à</a:t>
            </a:r>
            <a:r>
              <a:rPr sz="1800"/>
              <a:t> la </a:t>
            </a:r>
            <a:r>
              <a:rPr sz="1800" err="1"/>
              <a:t>dépression</a:t>
            </a:r>
            <a:r>
              <a:rPr sz="1800"/>
              <a:t> et </a:t>
            </a:r>
            <a:r>
              <a:rPr sz="1800" err="1"/>
              <a:t>à</a:t>
            </a:r>
            <a:r>
              <a:rPr sz="1800"/>
              <a:t> </a:t>
            </a:r>
            <a:r>
              <a:rPr sz="1800" err="1"/>
              <a:t>l’anxiété</a:t>
            </a:r>
            <a:endParaRPr sz="1800"/>
          </a:p>
          <a:p>
            <a:pPr lvl="2">
              <a:lnSpc>
                <a:spcPct val="100000"/>
              </a:lnSpc>
              <a:spcBef>
                <a:spcPts val="400"/>
              </a:spcBef>
              <a:spcAft>
                <a:spcPts val="400"/>
              </a:spcAft>
            </a:pPr>
            <a:r>
              <a:rPr sz="1800" err="1"/>
              <a:t>Irritabilité</a:t>
            </a:r>
            <a:r>
              <a:rPr sz="1800"/>
              <a:t> et </a:t>
            </a:r>
            <a:r>
              <a:rPr sz="1800" err="1"/>
              <a:t>colère</a:t>
            </a:r>
            <a:endParaRPr sz="1800"/>
          </a:p>
          <a:p>
            <a:pPr lvl="2">
              <a:lnSpc>
                <a:spcPct val="100000"/>
              </a:lnSpc>
              <a:spcBef>
                <a:spcPts val="400"/>
              </a:spcBef>
              <a:spcAft>
                <a:spcPts val="400"/>
              </a:spcAft>
            </a:pPr>
            <a:r>
              <a:rPr sz="1800"/>
              <a:t>Pensées </a:t>
            </a:r>
            <a:r>
              <a:rPr sz="1800" err="1"/>
              <a:t>récurrentes</a:t>
            </a:r>
            <a:r>
              <a:rPr sz="1800"/>
              <a:t> </a:t>
            </a:r>
            <a:r>
              <a:rPr sz="1800" err="1"/>
              <a:t>à</a:t>
            </a:r>
            <a:r>
              <a:rPr sz="1800"/>
              <a:t> </a:t>
            </a:r>
            <a:r>
              <a:rPr sz="1800" err="1"/>
              <a:t>propos</a:t>
            </a:r>
            <a:r>
              <a:rPr sz="1800"/>
              <a:t> du/des </a:t>
            </a:r>
            <a:r>
              <a:rPr sz="1800" err="1"/>
              <a:t>événement</a:t>
            </a:r>
            <a:r>
              <a:rPr sz="1800"/>
              <a:t>(s)</a:t>
            </a:r>
          </a:p>
          <a:p>
            <a:pPr lvl="2">
              <a:lnSpc>
                <a:spcPct val="100000"/>
              </a:lnSpc>
              <a:spcBef>
                <a:spcPts val="400"/>
              </a:spcBef>
              <a:spcAft>
                <a:spcPts val="400"/>
              </a:spcAft>
            </a:pPr>
            <a:r>
              <a:rPr sz="1800" err="1"/>
              <a:t>Maux</a:t>
            </a:r>
            <a:r>
              <a:rPr sz="1800"/>
              <a:t> de tête, </a:t>
            </a:r>
            <a:r>
              <a:rPr sz="1800" err="1"/>
              <a:t>douleurs</a:t>
            </a:r>
            <a:r>
              <a:rPr sz="1800"/>
              <a:t> physiques, </a:t>
            </a:r>
            <a:r>
              <a:rPr sz="1800" err="1"/>
              <a:t>changements</a:t>
            </a:r>
            <a:r>
              <a:rPr sz="1800"/>
              <a:t> </a:t>
            </a:r>
            <a:r>
              <a:rPr sz="1800" err="1"/>
              <a:t>d’appétit</a:t>
            </a:r>
            <a:endParaRPr sz="1800"/>
          </a:p>
          <a:p>
            <a:pPr lvl="2">
              <a:lnSpc>
                <a:spcPct val="100000"/>
              </a:lnSpc>
              <a:spcBef>
                <a:spcPts val="400"/>
              </a:spcBef>
              <a:spcAft>
                <a:spcPts val="400"/>
              </a:spcAft>
            </a:pPr>
            <a:endParaRPr lang="en-US"/>
          </a:p>
          <a:p>
            <a:pPr lvl="2">
              <a:lnSpc>
                <a:spcPct val="100000"/>
              </a:lnSpc>
            </a:pPr>
            <a:endParaRPr lang="en-US"/>
          </a:p>
          <a:p>
            <a:endParaRPr lang="en-US" sz="2000"/>
          </a:p>
        </p:txBody>
      </p:sp>
    </p:spTree>
    <p:extLst>
      <p:ext uri="{BB962C8B-B14F-4D97-AF65-F5344CB8AC3E}">
        <p14:creationId xmlns:p14="http://schemas.microsoft.com/office/powerpoint/2010/main" val="34001260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0EFE83-6F8E-2C47-A265-514910B3BB65}"/>
              </a:ext>
            </a:extLst>
          </p:cNvPr>
          <p:cNvSpPr>
            <a:spLocks noGrp="1"/>
          </p:cNvSpPr>
          <p:nvPr>
            <p:ph type="title"/>
          </p:nvPr>
        </p:nvSpPr>
        <p:spPr>
          <a:xfrm>
            <a:off x="171449" y="136526"/>
            <a:ext cx="8829675" cy="611619"/>
          </a:xfrm>
        </p:spPr>
        <p:txBody>
          <a:bodyPr/>
          <a:lstStyle/>
          <a:p>
            <a:r>
              <a:rPr sz="2000"/>
              <a:t>Après un incident critique, un </a:t>
            </a:r>
            <a:r>
              <a:rPr sz="2000" err="1"/>
              <a:t>conseiller</a:t>
            </a:r>
            <a:r>
              <a:rPr sz="2000"/>
              <a:t> </a:t>
            </a:r>
            <a:r>
              <a:rPr sz="2000" err="1"/>
              <a:t>psychologue</a:t>
            </a:r>
            <a:r>
              <a:rPr sz="2000"/>
              <a:t> </a:t>
            </a:r>
            <a:r>
              <a:rPr sz="2000" err="1"/>
              <a:t>peut</a:t>
            </a:r>
            <a:r>
              <a:rPr sz="2000"/>
              <a:t> </a:t>
            </a:r>
            <a:r>
              <a:rPr sz="2000" err="1"/>
              <a:t>vous</a:t>
            </a:r>
            <a:r>
              <a:rPr sz="2000"/>
              <a:t> aider </a:t>
            </a:r>
            <a:r>
              <a:rPr sz="2000" err="1"/>
              <a:t>à</a:t>
            </a:r>
            <a:r>
              <a:rPr sz="2000"/>
              <a:t>...</a:t>
            </a:r>
          </a:p>
        </p:txBody>
      </p:sp>
      <p:sp>
        <p:nvSpPr>
          <p:cNvPr id="3" name="Text Placeholder 2">
            <a:extLst>
              <a:ext uri="{FF2B5EF4-FFF2-40B4-BE49-F238E27FC236}">
                <a16:creationId xmlns:a16="http://schemas.microsoft.com/office/drawing/2014/main" id="{EABE11F8-AFDB-C145-89EF-3F91EAA2869E}"/>
              </a:ext>
            </a:extLst>
          </p:cNvPr>
          <p:cNvSpPr>
            <a:spLocks noGrp="1"/>
          </p:cNvSpPr>
          <p:nvPr>
            <p:ph type="body" sz="quarter" idx="10"/>
          </p:nvPr>
        </p:nvSpPr>
        <p:spPr/>
        <p:txBody>
          <a:bodyPr/>
          <a:lstStyle/>
          <a:p>
            <a:pPr>
              <a:lnSpc>
                <a:spcPct val="100000"/>
              </a:lnSpc>
              <a:spcBef>
                <a:spcPts val="600"/>
              </a:spcBef>
              <a:spcAft>
                <a:spcPts val="600"/>
              </a:spcAft>
            </a:pPr>
            <a:r>
              <a:rPr sz="2000" err="1"/>
              <a:t>En</a:t>
            </a:r>
            <a:r>
              <a:rPr sz="2000"/>
              <a:t> </a:t>
            </a:r>
            <a:r>
              <a:rPr sz="2000" err="1"/>
              <a:t>apprendre</a:t>
            </a:r>
            <a:r>
              <a:rPr sz="2000"/>
              <a:t> </a:t>
            </a:r>
            <a:r>
              <a:rPr sz="2000" err="1"/>
              <a:t>davantage</a:t>
            </a:r>
            <a:r>
              <a:rPr sz="2000"/>
              <a:t> sur le stress et le </a:t>
            </a:r>
            <a:r>
              <a:rPr sz="2000" err="1"/>
              <a:t>traumatisme</a:t>
            </a:r>
            <a:r>
              <a:rPr sz="2000"/>
              <a:t> et la manière </a:t>
            </a:r>
            <a:r>
              <a:rPr sz="2000" err="1"/>
              <a:t>dont</a:t>
            </a:r>
            <a:r>
              <a:rPr sz="2000"/>
              <a:t> </a:t>
            </a:r>
            <a:r>
              <a:rPr sz="2000" err="1"/>
              <a:t>ils</a:t>
            </a:r>
            <a:r>
              <a:rPr sz="2000"/>
              <a:t> nous </a:t>
            </a:r>
            <a:r>
              <a:rPr sz="2000" err="1"/>
              <a:t>affectent</a:t>
            </a:r>
            <a:endParaRPr sz="2000"/>
          </a:p>
          <a:p>
            <a:pPr>
              <a:lnSpc>
                <a:spcPct val="100000"/>
              </a:lnSpc>
              <a:spcBef>
                <a:spcPts val="600"/>
              </a:spcBef>
              <a:spcAft>
                <a:spcPts val="600"/>
              </a:spcAft>
            </a:pPr>
            <a:r>
              <a:rPr sz="2000" err="1"/>
              <a:t>Comprendre</a:t>
            </a:r>
            <a:r>
              <a:rPr sz="2000"/>
              <a:t> </a:t>
            </a:r>
            <a:r>
              <a:rPr sz="2000" err="1"/>
              <a:t>si</a:t>
            </a:r>
            <a:r>
              <a:rPr sz="2000"/>
              <a:t> le stress et les </a:t>
            </a:r>
            <a:r>
              <a:rPr sz="2000" err="1"/>
              <a:t>réactions</a:t>
            </a:r>
            <a:r>
              <a:rPr sz="2000"/>
              <a:t> </a:t>
            </a:r>
            <a:r>
              <a:rPr sz="2000" err="1"/>
              <a:t>traumatiques</a:t>
            </a:r>
            <a:r>
              <a:rPr sz="2000"/>
              <a:t> que </a:t>
            </a:r>
            <a:r>
              <a:rPr sz="2000" err="1"/>
              <a:t>vous</a:t>
            </a:r>
            <a:r>
              <a:rPr sz="2000"/>
              <a:t> </a:t>
            </a:r>
            <a:r>
              <a:rPr sz="2000" err="1"/>
              <a:t>éprouvez</a:t>
            </a:r>
            <a:r>
              <a:rPr sz="2000"/>
              <a:t> </a:t>
            </a:r>
            <a:r>
              <a:rPr sz="2000" err="1"/>
              <a:t>sont</a:t>
            </a:r>
            <a:r>
              <a:rPr sz="2000"/>
              <a:t> </a:t>
            </a:r>
            <a:r>
              <a:rPr sz="2000" err="1"/>
              <a:t>normales</a:t>
            </a:r>
            <a:r>
              <a:rPr sz="2000"/>
              <a:t> et </a:t>
            </a:r>
            <a:r>
              <a:rPr sz="2000" err="1"/>
              <a:t>susceptibles</a:t>
            </a:r>
            <a:r>
              <a:rPr sz="2000"/>
              <a:t> de </a:t>
            </a:r>
            <a:r>
              <a:rPr sz="2000" err="1"/>
              <a:t>disparaître</a:t>
            </a:r>
            <a:r>
              <a:rPr sz="2000"/>
              <a:t> </a:t>
            </a:r>
            <a:r>
              <a:rPr sz="2000" err="1"/>
              <a:t>d’elles-mêmes</a:t>
            </a:r>
            <a:r>
              <a:rPr sz="2000"/>
              <a:t>, </a:t>
            </a:r>
            <a:r>
              <a:rPr sz="2000" err="1"/>
              <a:t>ou</a:t>
            </a:r>
            <a:r>
              <a:rPr sz="2000"/>
              <a:t> </a:t>
            </a:r>
            <a:r>
              <a:rPr sz="2000" err="1"/>
              <a:t>si</a:t>
            </a:r>
            <a:r>
              <a:rPr sz="2000"/>
              <a:t> </a:t>
            </a:r>
            <a:r>
              <a:rPr sz="2000" err="1"/>
              <a:t>vous</a:t>
            </a:r>
            <a:r>
              <a:rPr sz="2000"/>
              <a:t> </a:t>
            </a:r>
            <a:r>
              <a:rPr sz="2000" err="1"/>
              <a:t>pourriez</a:t>
            </a:r>
            <a:r>
              <a:rPr sz="2000"/>
              <a:t> </a:t>
            </a:r>
            <a:r>
              <a:rPr sz="2000" err="1"/>
              <a:t>bénéficier</a:t>
            </a:r>
            <a:r>
              <a:rPr sz="2000"/>
              <a:t> d'un </a:t>
            </a:r>
            <a:r>
              <a:rPr sz="2000" err="1"/>
              <a:t>soutien</a:t>
            </a:r>
            <a:r>
              <a:rPr sz="2000"/>
              <a:t> </a:t>
            </a:r>
            <a:r>
              <a:rPr sz="2000" err="1"/>
              <a:t>supplémentaire</a:t>
            </a:r>
            <a:r>
              <a:rPr sz="2000"/>
              <a:t> sous </a:t>
            </a:r>
            <a:r>
              <a:rPr sz="2000" err="1"/>
              <a:t>forme</a:t>
            </a:r>
            <a:r>
              <a:rPr sz="2000"/>
              <a:t> de </a:t>
            </a:r>
            <a:r>
              <a:rPr sz="2000" err="1"/>
              <a:t>conseil</a:t>
            </a:r>
            <a:r>
              <a:rPr sz="2000"/>
              <a:t> </a:t>
            </a:r>
            <a:r>
              <a:rPr sz="2000" err="1"/>
              <a:t>psychologique</a:t>
            </a:r>
            <a:r>
              <a:rPr sz="2000"/>
              <a:t> pendant un certain temps</a:t>
            </a:r>
          </a:p>
          <a:p>
            <a:pPr>
              <a:lnSpc>
                <a:spcPct val="100000"/>
              </a:lnSpc>
              <a:spcBef>
                <a:spcPts val="600"/>
              </a:spcBef>
              <a:spcAft>
                <a:spcPts val="600"/>
              </a:spcAft>
            </a:pPr>
            <a:r>
              <a:rPr sz="2000"/>
              <a:t>Identifier </a:t>
            </a:r>
            <a:r>
              <a:rPr sz="2000" err="1"/>
              <a:t>ce</a:t>
            </a:r>
            <a:r>
              <a:rPr sz="2000"/>
              <a:t> que </a:t>
            </a:r>
            <a:r>
              <a:rPr sz="2000" err="1"/>
              <a:t>vous</a:t>
            </a:r>
            <a:r>
              <a:rPr sz="2000"/>
              <a:t> </a:t>
            </a:r>
            <a:r>
              <a:rPr sz="2000" err="1"/>
              <a:t>pouvez</a:t>
            </a:r>
            <a:r>
              <a:rPr sz="2000"/>
              <a:t> faire pour prendre </a:t>
            </a:r>
            <a:r>
              <a:rPr sz="2000" err="1"/>
              <a:t>soin</a:t>
            </a:r>
            <a:r>
              <a:rPr sz="2000"/>
              <a:t> de </a:t>
            </a:r>
            <a:r>
              <a:rPr sz="2000" err="1"/>
              <a:t>vous</a:t>
            </a:r>
            <a:r>
              <a:rPr sz="2000"/>
              <a:t> </a:t>
            </a:r>
            <a:r>
              <a:rPr sz="2000" err="1"/>
              <a:t>durant</a:t>
            </a:r>
            <a:r>
              <a:rPr sz="2000"/>
              <a:t> </a:t>
            </a:r>
            <a:r>
              <a:rPr sz="2000" err="1"/>
              <a:t>cette</a:t>
            </a:r>
            <a:r>
              <a:rPr sz="2000"/>
              <a:t> </a:t>
            </a:r>
            <a:r>
              <a:rPr sz="2000" err="1"/>
              <a:t>période</a:t>
            </a:r>
            <a:r>
              <a:rPr sz="2000"/>
              <a:t> et </a:t>
            </a:r>
            <a:r>
              <a:rPr sz="2000" err="1"/>
              <a:t>vous</a:t>
            </a:r>
            <a:r>
              <a:rPr sz="2000"/>
              <a:t> aider </a:t>
            </a:r>
            <a:r>
              <a:rPr sz="2000" err="1"/>
              <a:t>à</a:t>
            </a:r>
            <a:r>
              <a:rPr sz="2000"/>
              <a:t> </a:t>
            </a:r>
            <a:r>
              <a:rPr sz="2000" err="1"/>
              <a:t>vous</a:t>
            </a:r>
            <a:r>
              <a:rPr sz="2000"/>
              <a:t> </a:t>
            </a:r>
            <a:r>
              <a:rPr sz="2000" err="1"/>
              <a:t>rétablir</a:t>
            </a:r>
            <a:r>
              <a:rPr sz="2000"/>
              <a:t> </a:t>
            </a:r>
          </a:p>
          <a:p>
            <a:pPr marL="0" indent="0">
              <a:buNone/>
            </a:pPr>
            <a:endParaRPr lang="en-US" sz="2000"/>
          </a:p>
        </p:txBody>
      </p:sp>
    </p:spTree>
    <p:extLst>
      <p:ext uri="{BB962C8B-B14F-4D97-AF65-F5344CB8AC3E}">
        <p14:creationId xmlns:p14="http://schemas.microsoft.com/office/powerpoint/2010/main" val="7698119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r>
              <a:t>5. Que se passe-t-il durant une séance de conseil psychologique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22501328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CC9D7-46A9-5448-BC75-788AFB64FB2B}"/>
              </a:ext>
            </a:extLst>
          </p:cNvPr>
          <p:cNvSpPr>
            <a:spLocks noGrp="1"/>
          </p:cNvSpPr>
          <p:nvPr>
            <p:ph type="title"/>
          </p:nvPr>
        </p:nvSpPr>
        <p:spPr/>
        <p:txBody>
          <a:bodyPr/>
          <a:lstStyle/>
          <a:p>
            <a:r>
              <a:rPr sz="2000"/>
              <a:t>Durant </a:t>
            </a:r>
            <a:r>
              <a:rPr sz="2000" err="1"/>
              <a:t>votre</a:t>
            </a:r>
            <a:r>
              <a:rPr sz="2000"/>
              <a:t> première séance de </a:t>
            </a:r>
            <a:r>
              <a:rPr sz="2000" err="1"/>
              <a:t>conseil</a:t>
            </a:r>
            <a:r>
              <a:rPr sz="2000"/>
              <a:t> </a:t>
            </a:r>
            <a:r>
              <a:rPr sz="2000" err="1"/>
              <a:t>psychologique</a:t>
            </a:r>
            <a:r>
              <a:rPr sz="2000"/>
              <a:t>...</a:t>
            </a:r>
          </a:p>
        </p:txBody>
      </p:sp>
      <p:sp>
        <p:nvSpPr>
          <p:cNvPr id="3" name="Text Placeholder 2">
            <a:extLst>
              <a:ext uri="{FF2B5EF4-FFF2-40B4-BE49-F238E27FC236}">
                <a16:creationId xmlns:a16="http://schemas.microsoft.com/office/drawing/2014/main" id="{D3609614-E21D-C940-B0DB-0D9D0A7E8A1E}"/>
              </a:ext>
            </a:extLst>
          </p:cNvPr>
          <p:cNvSpPr>
            <a:spLocks noGrp="1"/>
          </p:cNvSpPr>
          <p:nvPr>
            <p:ph type="body" sz="quarter" idx="10"/>
          </p:nvPr>
        </p:nvSpPr>
        <p:spPr>
          <a:xfrm>
            <a:off x="461963" y="1146175"/>
            <a:ext cx="8239125" cy="4910241"/>
          </a:xfrm>
        </p:spPr>
        <p:txBody>
          <a:bodyPr/>
          <a:lstStyle/>
          <a:p>
            <a:r>
              <a:rPr sz="2000" err="1"/>
              <a:t>Vous</a:t>
            </a:r>
            <a:r>
              <a:rPr sz="2000"/>
              <a:t> </a:t>
            </a:r>
            <a:r>
              <a:rPr sz="2000" err="1"/>
              <a:t>passerez</a:t>
            </a:r>
            <a:r>
              <a:rPr sz="2000"/>
              <a:t> </a:t>
            </a:r>
            <a:r>
              <a:rPr sz="2000" err="1"/>
              <a:t>probablement</a:t>
            </a:r>
            <a:r>
              <a:rPr sz="2000"/>
              <a:t> du temps </a:t>
            </a:r>
            <a:r>
              <a:rPr sz="2000" err="1"/>
              <a:t>à</a:t>
            </a:r>
            <a:r>
              <a:rPr sz="2000"/>
              <a:t> </a:t>
            </a:r>
            <a:r>
              <a:rPr sz="2000" err="1"/>
              <a:t>apprendre</a:t>
            </a:r>
            <a:r>
              <a:rPr sz="2000"/>
              <a:t> </a:t>
            </a:r>
            <a:r>
              <a:rPr sz="2000" err="1"/>
              <a:t>à</a:t>
            </a:r>
            <a:r>
              <a:rPr sz="2000"/>
              <a:t> </a:t>
            </a:r>
            <a:r>
              <a:rPr sz="2000" err="1"/>
              <a:t>vous</a:t>
            </a:r>
            <a:r>
              <a:rPr sz="2000"/>
              <a:t> </a:t>
            </a:r>
            <a:r>
              <a:rPr sz="2000" err="1"/>
              <a:t>connaître</a:t>
            </a:r>
            <a:r>
              <a:rPr sz="2000"/>
              <a:t> </a:t>
            </a:r>
            <a:r>
              <a:rPr sz="2000" err="1"/>
              <a:t>mutuellement</a:t>
            </a:r>
            <a:r>
              <a:rPr sz="2000"/>
              <a:t>. </a:t>
            </a:r>
          </a:p>
          <a:p>
            <a:pPr lvl="1"/>
            <a:r>
              <a:rPr sz="1800"/>
              <a:t>Le </a:t>
            </a:r>
            <a:r>
              <a:rPr sz="1800" err="1"/>
              <a:t>conseiller</a:t>
            </a:r>
            <a:r>
              <a:rPr sz="1800"/>
              <a:t> </a:t>
            </a:r>
            <a:r>
              <a:rPr sz="1800" err="1"/>
              <a:t>psychologue</a:t>
            </a:r>
            <a:r>
              <a:rPr sz="1800"/>
              <a:t> </a:t>
            </a:r>
            <a:r>
              <a:rPr sz="1800" err="1"/>
              <a:t>vous</a:t>
            </a:r>
            <a:r>
              <a:rPr sz="1800"/>
              <a:t> </a:t>
            </a:r>
            <a:r>
              <a:rPr sz="1800" err="1"/>
              <a:t>parlera</a:t>
            </a:r>
            <a:r>
              <a:rPr sz="1800"/>
              <a:t> un </a:t>
            </a:r>
            <a:r>
              <a:rPr sz="1800" err="1"/>
              <a:t>peu</a:t>
            </a:r>
            <a:r>
              <a:rPr sz="1800"/>
              <a:t> de </a:t>
            </a:r>
            <a:r>
              <a:rPr sz="1800" err="1"/>
              <a:t>lui</a:t>
            </a:r>
            <a:r>
              <a:rPr sz="1800"/>
              <a:t> et </a:t>
            </a:r>
            <a:r>
              <a:rPr sz="1800" err="1"/>
              <a:t>pourrait</a:t>
            </a:r>
            <a:r>
              <a:rPr sz="1800"/>
              <a:t> </a:t>
            </a:r>
            <a:r>
              <a:rPr sz="1800" err="1"/>
              <a:t>vous</a:t>
            </a:r>
            <a:r>
              <a:rPr sz="1800"/>
              <a:t> encourager </a:t>
            </a:r>
            <a:r>
              <a:rPr sz="1800" err="1"/>
              <a:t>à</a:t>
            </a:r>
            <a:r>
              <a:rPr sz="1800"/>
              <a:t> </a:t>
            </a:r>
            <a:r>
              <a:rPr sz="1800" err="1"/>
              <a:t>lui</a:t>
            </a:r>
            <a:r>
              <a:rPr sz="1800"/>
              <a:t> poser des questions sur </a:t>
            </a:r>
            <a:r>
              <a:rPr sz="1800" err="1"/>
              <a:t>sa</a:t>
            </a:r>
            <a:r>
              <a:rPr sz="1800"/>
              <a:t> vie, </a:t>
            </a:r>
            <a:r>
              <a:rPr sz="1800" err="1"/>
              <a:t>sa</a:t>
            </a:r>
            <a:r>
              <a:rPr sz="1800"/>
              <a:t> formation </a:t>
            </a:r>
            <a:r>
              <a:rPr sz="1800" err="1"/>
              <a:t>ou</a:t>
            </a:r>
            <a:r>
              <a:rPr sz="1800"/>
              <a:t> son </a:t>
            </a:r>
            <a:r>
              <a:rPr sz="1800" err="1"/>
              <a:t>expérience</a:t>
            </a:r>
            <a:r>
              <a:rPr sz="1800"/>
              <a:t>. </a:t>
            </a:r>
          </a:p>
          <a:p>
            <a:r>
              <a:rPr sz="2000"/>
              <a:t>Il </a:t>
            </a:r>
            <a:r>
              <a:rPr sz="2000" err="1"/>
              <a:t>vous</a:t>
            </a:r>
            <a:r>
              <a:rPr sz="2000"/>
              <a:t> </a:t>
            </a:r>
            <a:r>
              <a:rPr sz="2000" err="1"/>
              <a:t>demandera</a:t>
            </a:r>
            <a:r>
              <a:rPr sz="2000"/>
              <a:t> </a:t>
            </a:r>
            <a:r>
              <a:rPr sz="2000" err="1"/>
              <a:t>probablement</a:t>
            </a:r>
            <a:r>
              <a:rPr sz="2000"/>
              <a:t> : </a:t>
            </a:r>
          </a:p>
          <a:p>
            <a:pPr lvl="1"/>
            <a:r>
              <a:rPr sz="1800" err="1"/>
              <a:t>Pourquoi</a:t>
            </a:r>
            <a:r>
              <a:rPr sz="1800"/>
              <a:t> </a:t>
            </a:r>
            <a:r>
              <a:rPr sz="1800" err="1"/>
              <a:t>vous</a:t>
            </a:r>
            <a:r>
              <a:rPr sz="1800"/>
              <a:t> cherchez </a:t>
            </a:r>
            <a:r>
              <a:rPr sz="1800" err="1"/>
              <a:t>à</a:t>
            </a:r>
            <a:r>
              <a:rPr sz="1800"/>
              <a:t> </a:t>
            </a:r>
            <a:r>
              <a:rPr sz="1800" err="1"/>
              <a:t>obtenir</a:t>
            </a:r>
            <a:r>
              <a:rPr sz="1800"/>
              <a:t> </a:t>
            </a:r>
            <a:r>
              <a:rPr sz="1800" err="1"/>
              <a:t>l’aide</a:t>
            </a:r>
            <a:r>
              <a:rPr sz="1800"/>
              <a:t> d'un </a:t>
            </a:r>
            <a:r>
              <a:rPr sz="1800" err="1"/>
              <a:t>conseiller</a:t>
            </a:r>
            <a:r>
              <a:rPr sz="1800"/>
              <a:t> </a:t>
            </a:r>
            <a:r>
              <a:rPr sz="1800" err="1"/>
              <a:t>psychologue</a:t>
            </a:r>
            <a:r>
              <a:rPr sz="1800"/>
              <a:t> </a:t>
            </a:r>
          </a:p>
          <a:p>
            <a:pPr lvl="1"/>
            <a:r>
              <a:rPr sz="1800"/>
              <a:t>De </a:t>
            </a:r>
            <a:r>
              <a:rPr sz="1800" err="1"/>
              <a:t>quel</a:t>
            </a:r>
            <a:r>
              <a:rPr sz="1800"/>
              <a:t> type de </a:t>
            </a:r>
            <a:r>
              <a:rPr sz="1800" err="1"/>
              <a:t>besoins</a:t>
            </a:r>
            <a:r>
              <a:rPr sz="1800"/>
              <a:t> et de </a:t>
            </a:r>
            <a:r>
              <a:rPr sz="1800" err="1"/>
              <a:t>problèmes</a:t>
            </a:r>
            <a:r>
              <a:rPr sz="1800"/>
              <a:t> </a:t>
            </a:r>
            <a:r>
              <a:rPr sz="1800" err="1"/>
              <a:t>vous</a:t>
            </a:r>
            <a:r>
              <a:rPr sz="1800"/>
              <a:t> </a:t>
            </a:r>
            <a:r>
              <a:rPr sz="1800" err="1"/>
              <a:t>aimeriez</a:t>
            </a:r>
            <a:r>
              <a:rPr sz="1800"/>
              <a:t> </a:t>
            </a:r>
            <a:r>
              <a:rPr sz="1800" err="1"/>
              <a:t>parler</a:t>
            </a:r>
            <a:endParaRPr sz="1800"/>
          </a:p>
          <a:p>
            <a:pPr lvl="1"/>
            <a:r>
              <a:rPr sz="1800"/>
              <a:t>Ce que </a:t>
            </a:r>
            <a:r>
              <a:rPr sz="1800" err="1"/>
              <a:t>vous</a:t>
            </a:r>
            <a:r>
              <a:rPr sz="1800"/>
              <a:t> </a:t>
            </a:r>
            <a:r>
              <a:rPr sz="1800" err="1"/>
              <a:t>avez</a:t>
            </a:r>
            <a:r>
              <a:rPr sz="1800"/>
              <a:t> fait pour </a:t>
            </a:r>
            <a:r>
              <a:rPr sz="1800" err="1"/>
              <a:t>gérer</a:t>
            </a:r>
            <a:r>
              <a:rPr sz="1800"/>
              <a:t> </a:t>
            </a:r>
            <a:r>
              <a:rPr sz="1800" err="1"/>
              <a:t>ce</a:t>
            </a:r>
            <a:r>
              <a:rPr sz="1800"/>
              <a:t> type de questions </a:t>
            </a:r>
            <a:r>
              <a:rPr sz="1800" err="1"/>
              <a:t>ou</a:t>
            </a:r>
            <a:r>
              <a:rPr sz="1800"/>
              <a:t> de </a:t>
            </a:r>
            <a:r>
              <a:rPr sz="1800" err="1"/>
              <a:t>difficultés</a:t>
            </a:r>
            <a:r>
              <a:rPr sz="1800"/>
              <a:t> dans le passé (</a:t>
            </a:r>
            <a:r>
              <a:rPr sz="1800" err="1"/>
              <a:t>ce</a:t>
            </a:r>
            <a:r>
              <a:rPr sz="1800"/>
              <a:t> qui a </a:t>
            </a:r>
            <a:r>
              <a:rPr sz="1800" err="1"/>
              <a:t>fonctionné</a:t>
            </a:r>
            <a:r>
              <a:rPr sz="1800"/>
              <a:t> </a:t>
            </a:r>
            <a:r>
              <a:rPr sz="1800" err="1"/>
              <a:t>ou</a:t>
            </a:r>
            <a:r>
              <a:rPr sz="1800"/>
              <a:t> non)</a:t>
            </a:r>
          </a:p>
          <a:p>
            <a:pPr lvl="1"/>
            <a:r>
              <a:rPr sz="1800"/>
              <a:t>Ce que </a:t>
            </a:r>
            <a:r>
              <a:rPr sz="1800" err="1"/>
              <a:t>vous</a:t>
            </a:r>
            <a:r>
              <a:rPr sz="1800"/>
              <a:t> </a:t>
            </a:r>
            <a:r>
              <a:rPr sz="1800" err="1"/>
              <a:t>espérez</a:t>
            </a:r>
            <a:r>
              <a:rPr sz="1800"/>
              <a:t> </a:t>
            </a:r>
            <a:r>
              <a:rPr sz="1800" err="1"/>
              <a:t>retirer</a:t>
            </a:r>
            <a:r>
              <a:rPr sz="1800"/>
              <a:t> de </a:t>
            </a:r>
            <a:r>
              <a:rPr sz="1800" err="1"/>
              <a:t>l’aide</a:t>
            </a:r>
            <a:r>
              <a:rPr sz="1800"/>
              <a:t> d'un </a:t>
            </a:r>
            <a:r>
              <a:rPr sz="1800" err="1"/>
              <a:t>conseiller</a:t>
            </a:r>
            <a:r>
              <a:rPr sz="1800"/>
              <a:t> </a:t>
            </a:r>
            <a:r>
              <a:rPr sz="1800" err="1"/>
              <a:t>psychologue</a:t>
            </a:r>
            <a:endParaRPr sz="1800"/>
          </a:p>
        </p:txBody>
      </p:sp>
    </p:spTree>
    <p:extLst>
      <p:ext uri="{BB962C8B-B14F-4D97-AF65-F5344CB8AC3E}">
        <p14:creationId xmlns:p14="http://schemas.microsoft.com/office/powerpoint/2010/main" val="709042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060F8-F7AA-454E-8B4C-ADB2610EB424}"/>
              </a:ext>
            </a:extLst>
          </p:cNvPr>
          <p:cNvSpPr>
            <a:spLocks noGrp="1"/>
          </p:cNvSpPr>
          <p:nvPr>
            <p:ph type="title"/>
          </p:nvPr>
        </p:nvSpPr>
        <p:spPr/>
        <p:txBody>
          <a:bodyPr/>
          <a:lstStyle/>
          <a:p>
            <a:r>
              <a:t>Questions importantes auxquelles répondre</a:t>
            </a:r>
          </a:p>
        </p:txBody>
      </p:sp>
      <p:sp>
        <p:nvSpPr>
          <p:cNvPr id="4" name="Text Placeholder 3">
            <a:extLst>
              <a:ext uri="{FF2B5EF4-FFF2-40B4-BE49-F238E27FC236}">
                <a16:creationId xmlns:a16="http://schemas.microsoft.com/office/drawing/2014/main" id="{78BA598B-3E58-EF40-9BCA-0A4B810308F0}"/>
              </a:ext>
            </a:extLst>
          </p:cNvPr>
          <p:cNvSpPr>
            <a:spLocks noGrp="1"/>
          </p:cNvSpPr>
          <p:nvPr>
            <p:ph type="body" sz="quarter" idx="10"/>
          </p:nvPr>
        </p:nvSpPr>
        <p:spPr>
          <a:xfrm>
            <a:off x="340043" y="1115693"/>
            <a:ext cx="5585269" cy="5539107"/>
          </a:xfrm>
        </p:spPr>
        <p:txBody>
          <a:bodyPr/>
          <a:lstStyle/>
          <a:p>
            <a:pPr marL="514350" indent="-514350">
              <a:lnSpc>
                <a:spcPct val="100000"/>
              </a:lnSpc>
              <a:spcBef>
                <a:spcPts val="600"/>
              </a:spcBef>
              <a:spcAft>
                <a:spcPts val="600"/>
              </a:spcAft>
              <a:buFont typeface="+mj-lt"/>
              <a:buAutoNum type="arabicPeriod"/>
            </a:pPr>
            <a:r>
              <a:rPr sz="2000" err="1"/>
              <a:t>Qu'est-ce</a:t>
            </a:r>
            <a:r>
              <a:rPr sz="2000"/>
              <a:t> que le </a:t>
            </a:r>
            <a:r>
              <a:rPr sz="2000" err="1"/>
              <a:t>conseil</a:t>
            </a:r>
            <a:r>
              <a:rPr sz="2000"/>
              <a:t> </a:t>
            </a:r>
            <a:r>
              <a:rPr sz="2000" err="1"/>
              <a:t>psychologique</a:t>
            </a:r>
            <a:r>
              <a:rPr sz="2000"/>
              <a:t> ?</a:t>
            </a:r>
          </a:p>
          <a:p>
            <a:pPr marL="514350" indent="-514350">
              <a:lnSpc>
                <a:spcPct val="100000"/>
              </a:lnSpc>
              <a:spcBef>
                <a:spcPts val="600"/>
              </a:spcBef>
              <a:spcAft>
                <a:spcPts val="600"/>
              </a:spcAft>
              <a:buFont typeface="+mj-lt"/>
              <a:buAutoNum type="arabicPeriod"/>
            </a:pPr>
            <a:r>
              <a:rPr sz="2000" err="1"/>
              <a:t>Quelles</a:t>
            </a:r>
            <a:r>
              <a:rPr sz="2000"/>
              <a:t> </a:t>
            </a:r>
            <a:r>
              <a:rPr sz="2000" err="1"/>
              <a:t>compétences</a:t>
            </a:r>
            <a:r>
              <a:rPr sz="2000"/>
              <a:t> </a:t>
            </a:r>
            <a:r>
              <a:rPr sz="2000" err="1"/>
              <a:t>possèdent</a:t>
            </a:r>
            <a:r>
              <a:rPr sz="2000"/>
              <a:t> les </a:t>
            </a:r>
            <a:r>
              <a:rPr sz="2000" err="1"/>
              <a:t>conseillers</a:t>
            </a:r>
            <a:r>
              <a:rPr sz="2000"/>
              <a:t> </a:t>
            </a:r>
            <a:r>
              <a:rPr sz="2000" err="1"/>
              <a:t>psychologues</a:t>
            </a:r>
            <a:r>
              <a:rPr sz="2000"/>
              <a:t> ?</a:t>
            </a:r>
          </a:p>
          <a:p>
            <a:pPr marL="514350" indent="-514350">
              <a:lnSpc>
                <a:spcPct val="100000"/>
              </a:lnSpc>
              <a:spcBef>
                <a:spcPts val="600"/>
              </a:spcBef>
              <a:spcAft>
                <a:spcPts val="600"/>
              </a:spcAft>
              <a:buFont typeface="+mj-lt"/>
              <a:buAutoNum type="arabicPeriod"/>
            </a:pPr>
            <a:r>
              <a:rPr sz="2000" err="1"/>
              <a:t>En</a:t>
            </a:r>
            <a:r>
              <a:rPr sz="2000"/>
              <a:t> quoi </a:t>
            </a:r>
            <a:r>
              <a:rPr sz="2000" err="1"/>
              <a:t>pourrais</a:t>
            </a:r>
            <a:r>
              <a:rPr sz="2000"/>
              <a:t>-je </a:t>
            </a:r>
            <a:r>
              <a:rPr sz="2000" err="1"/>
              <a:t>bénéficier</a:t>
            </a:r>
            <a:r>
              <a:rPr sz="2000"/>
              <a:t> des services d'un </a:t>
            </a:r>
            <a:r>
              <a:rPr sz="2000" err="1"/>
              <a:t>conseiller</a:t>
            </a:r>
            <a:r>
              <a:rPr sz="2000"/>
              <a:t> </a:t>
            </a:r>
            <a:r>
              <a:rPr sz="2000" err="1"/>
              <a:t>psychologue</a:t>
            </a:r>
            <a:r>
              <a:rPr sz="2000"/>
              <a:t> ?</a:t>
            </a:r>
          </a:p>
          <a:p>
            <a:pPr marL="514350" indent="-514350">
              <a:lnSpc>
                <a:spcPct val="100000"/>
              </a:lnSpc>
              <a:spcBef>
                <a:spcPts val="600"/>
              </a:spcBef>
              <a:spcAft>
                <a:spcPts val="600"/>
              </a:spcAft>
              <a:buFont typeface="+mj-lt"/>
              <a:buAutoNum type="arabicPeriod"/>
            </a:pPr>
            <a:r>
              <a:rPr sz="2000"/>
              <a:t>Comment savoir </a:t>
            </a:r>
            <a:r>
              <a:rPr sz="2000" err="1"/>
              <a:t>quand</a:t>
            </a:r>
            <a:r>
              <a:rPr sz="2000"/>
              <a:t> </a:t>
            </a:r>
            <a:r>
              <a:rPr sz="2000" err="1"/>
              <a:t>quelqu'un</a:t>
            </a:r>
            <a:r>
              <a:rPr sz="2000"/>
              <a:t> </a:t>
            </a:r>
            <a:r>
              <a:rPr sz="2000" err="1"/>
              <a:t>pourrait</a:t>
            </a:r>
            <a:r>
              <a:rPr sz="2000"/>
              <a:t> </a:t>
            </a:r>
            <a:r>
              <a:rPr sz="2000" err="1"/>
              <a:t>bénéficier</a:t>
            </a:r>
            <a:r>
              <a:rPr sz="2000"/>
              <a:t> de </a:t>
            </a:r>
            <a:r>
              <a:rPr sz="2000" err="1"/>
              <a:t>l’aide</a:t>
            </a:r>
            <a:r>
              <a:rPr sz="2000"/>
              <a:t> d'un </a:t>
            </a:r>
            <a:r>
              <a:rPr sz="2000" err="1"/>
              <a:t>conseiller</a:t>
            </a:r>
            <a:r>
              <a:rPr sz="2000"/>
              <a:t> </a:t>
            </a:r>
            <a:r>
              <a:rPr sz="2000" err="1"/>
              <a:t>psychologue</a:t>
            </a:r>
            <a:r>
              <a:rPr sz="2000"/>
              <a:t> ?</a:t>
            </a:r>
          </a:p>
          <a:p>
            <a:pPr marL="514350" indent="-514350">
              <a:lnSpc>
                <a:spcPct val="100000"/>
              </a:lnSpc>
              <a:spcBef>
                <a:spcPts val="600"/>
              </a:spcBef>
              <a:spcAft>
                <a:spcPts val="600"/>
              </a:spcAft>
              <a:buFont typeface="+mj-lt"/>
              <a:buAutoNum type="arabicPeriod"/>
            </a:pPr>
            <a:r>
              <a:rPr sz="2000"/>
              <a:t>Que se </a:t>
            </a:r>
            <a:r>
              <a:rPr sz="2000" err="1"/>
              <a:t>passe</a:t>
            </a:r>
            <a:r>
              <a:rPr sz="2000"/>
              <a:t>-t-</a:t>
            </a:r>
            <a:r>
              <a:rPr sz="2000" err="1"/>
              <a:t>il</a:t>
            </a:r>
            <a:r>
              <a:rPr sz="2000"/>
              <a:t> </a:t>
            </a:r>
            <a:r>
              <a:rPr sz="2000" err="1"/>
              <a:t>durant</a:t>
            </a:r>
            <a:r>
              <a:rPr sz="2000"/>
              <a:t> </a:t>
            </a:r>
            <a:r>
              <a:rPr sz="2000" err="1"/>
              <a:t>une</a:t>
            </a:r>
            <a:r>
              <a:rPr sz="2000"/>
              <a:t> séance de </a:t>
            </a:r>
            <a:r>
              <a:rPr sz="2000" err="1"/>
              <a:t>conseil</a:t>
            </a:r>
            <a:r>
              <a:rPr sz="2000"/>
              <a:t> </a:t>
            </a:r>
            <a:r>
              <a:rPr sz="2000" err="1"/>
              <a:t>psychologique</a:t>
            </a:r>
            <a:r>
              <a:rPr sz="2000"/>
              <a:t> ?</a:t>
            </a:r>
          </a:p>
          <a:p>
            <a:pPr marL="514350" indent="-514350">
              <a:lnSpc>
                <a:spcPct val="100000"/>
              </a:lnSpc>
              <a:spcBef>
                <a:spcPts val="600"/>
              </a:spcBef>
              <a:spcAft>
                <a:spcPts val="600"/>
              </a:spcAft>
              <a:buFont typeface="+mj-lt"/>
              <a:buAutoNum type="arabicPeriod"/>
            </a:pPr>
            <a:r>
              <a:rPr sz="2000"/>
              <a:t>Comment </a:t>
            </a:r>
            <a:r>
              <a:rPr sz="2000" err="1"/>
              <a:t>puis</a:t>
            </a:r>
            <a:r>
              <a:rPr sz="2000"/>
              <a:t>-je </a:t>
            </a:r>
            <a:r>
              <a:rPr sz="2000" err="1"/>
              <a:t>bénéficier</a:t>
            </a:r>
            <a:r>
              <a:rPr sz="2000"/>
              <a:t> de </a:t>
            </a:r>
            <a:r>
              <a:rPr sz="2000" err="1"/>
              <a:t>l’aide</a:t>
            </a:r>
            <a:r>
              <a:rPr sz="2000"/>
              <a:t> d’un </a:t>
            </a:r>
            <a:r>
              <a:rPr sz="2000" err="1"/>
              <a:t>conseiller</a:t>
            </a:r>
            <a:r>
              <a:rPr sz="2000"/>
              <a:t> </a:t>
            </a:r>
            <a:r>
              <a:rPr sz="2000" err="1"/>
              <a:t>psychologue</a:t>
            </a:r>
            <a:r>
              <a:rPr sz="2000"/>
              <a:t> ?</a:t>
            </a:r>
          </a:p>
        </p:txBody>
      </p:sp>
      <p:pic>
        <p:nvPicPr>
          <p:cNvPr id="6" name="Picture 5">
            <a:extLst>
              <a:ext uri="{FF2B5EF4-FFF2-40B4-BE49-F238E27FC236}">
                <a16:creationId xmlns:a16="http://schemas.microsoft.com/office/drawing/2014/main"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8175" y="1676857"/>
            <a:ext cx="3425825" cy="3425825"/>
          </a:xfrm>
          <a:prstGeom prst="rect">
            <a:avLst/>
          </a:prstGeom>
        </p:spPr>
      </p:pic>
    </p:spTree>
    <p:extLst>
      <p:ext uri="{BB962C8B-B14F-4D97-AF65-F5344CB8AC3E}">
        <p14:creationId xmlns:p14="http://schemas.microsoft.com/office/powerpoint/2010/main" val="9415685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C86FA-130D-3945-9844-2EB25D6653EB}"/>
              </a:ext>
            </a:extLst>
          </p:cNvPr>
          <p:cNvSpPr>
            <a:spLocks noGrp="1"/>
          </p:cNvSpPr>
          <p:nvPr>
            <p:ph type="title"/>
          </p:nvPr>
        </p:nvSpPr>
        <p:spPr>
          <a:xfrm>
            <a:off x="171450" y="136526"/>
            <a:ext cx="8401050" cy="611619"/>
          </a:xfrm>
        </p:spPr>
        <p:txBody>
          <a:bodyPr/>
          <a:lstStyle/>
          <a:p>
            <a:r>
              <a:rPr sz="2000"/>
              <a:t>Questions que </a:t>
            </a:r>
            <a:r>
              <a:rPr sz="2000" err="1"/>
              <a:t>vous</a:t>
            </a:r>
            <a:r>
              <a:rPr sz="2000"/>
              <a:t> </a:t>
            </a:r>
            <a:r>
              <a:rPr sz="2000" err="1"/>
              <a:t>pourriez</a:t>
            </a:r>
            <a:r>
              <a:rPr sz="2000"/>
              <a:t> </a:t>
            </a:r>
            <a:r>
              <a:rPr sz="2000" err="1"/>
              <a:t>vouloir</a:t>
            </a:r>
            <a:r>
              <a:rPr sz="2000"/>
              <a:t> poser </a:t>
            </a:r>
            <a:r>
              <a:rPr sz="2000" err="1"/>
              <a:t>à</a:t>
            </a:r>
            <a:r>
              <a:rPr sz="2000"/>
              <a:t> un </a:t>
            </a:r>
            <a:r>
              <a:rPr sz="2000" err="1"/>
              <a:t>conseiller</a:t>
            </a:r>
            <a:r>
              <a:rPr sz="2000"/>
              <a:t> </a:t>
            </a:r>
            <a:r>
              <a:rPr sz="2000" err="1"/>
              <a:t>psychologue</a:t>
            </a:r>
            <a:r>
              <a:rPr sz="2000"/>
              <a:t>	</a:t>
            </a:r>
          </a:p>
        </p:txBody>
      </p:sp>
      <p:sp>
        <p:nvSpPr>
          <p:cNvPr id="3" name="Text Placeholder 2">
            <a:extLst>
              <a:ext uri="{FF2B5EF4-FFF2-40B4-BE49-F238E27FC236}">
                <a16:creationId xmlns:a16="http://schemas.microsoft.com/office/drawing/2014/main" id="{0FA41D6C-CD00-BB40-B454-C10F4BCBE4BC}"/>
              </a:ext>
            </a:extLst>
          </p:cNvPr>
          <p:cNvSpPr>
            <a:spLocks noGrp="1"/>
          </p:cNvSpPr>
          <p:nvPr>
            <p:ph type="body" sz="quarter" idx="10"/>
          </p:nvPr>
        </p:nvSpPr>
        <p:spPr>
          <a:xfrm>
            <a:off x="461963" y="1146175"/>
            <a:ext cx="8239125" cy="4834495"/>
          </a:xfrm>
        </p:spPr>
        <p:txBody>
          <a:bodyPr/>
          <a:lstStyle/>
          <a:p>
            <a:r>
              <a:rPr sz="2000"/>
              <a:t>Le service </a:t>
            </a:r>
            <a:r>
              <a:rPr sz="2000" err="1"/>
              <a:t>est-il</a:t>
            </a:r>
            <a:r>
              <a:rPr sz="2000"/>
              <a:t> </a:t>
            </a:r>
            <a:r>
              <a:rPr sz="2000" err="1"/>
              <a:t>confidentiel</a:t>
            </a:r>
            <a:r>
              <a:rPr sz="2000"/>
              <a:t> ?</a:t>
            </a:r>
          </a:p>
          <a:p>
            <a:r>
              <a:rPr sz="2000"/>
              <a:t>Dans </a:t>
            </a:r>
            <a:r>
              <a:rPr sz="2000" err="1"/>
              <a:t>quelles</a:t>
            </a:r>
            <a:r>
              <a:rPr sz="2000"/>
              <a:t> </a:t>
            </a:r>
            <a:r>
              <a:rPr sz="2000" err="1"/>
              <a:t>circonstances</a:t>
            </a:r>
            <a:r>
              <a:rPr sz="2000"/>
              <a:t> </a:t>
            </a:r>
            <a:r>
              <a:rPr sz="2000" err="1"/>
              <a:t>pourriez-vous</a:t>
            </a:r>
            <a:r>
              <a:rPr sz="2000"/>
              <a:t> </a:t>
            </a:r>
            <a:r>
              <a:rPr sz="2000" err="1"/>
              <a:t>être</a:t>
            </a:r>
            <a:r>
              <a:rPr sz="2000"/>
              <a:t> </a:t>
            </a:r>
            <a:r>
              <a:rPr sz="2000" err="1"/>
              <a:t>contraint</a:t>
            </a:r>
            <a:r>
              <a:rPr sz="2000"/>
              <a:t> de lever la </a:t>
            </a:r>
            <a:r>
              <a:rPr sz="2000" err="1"/>
              <a:t>confidentialité</a:t>
            </a:r>
            <a:r>
              <a:rPr sz="2000"/>
              <a:t> ?</a:t>
            </a:r>
          </a:p>
          <a:p>
            <a:r>
              <a:rPr sz="2000" err="1"/>
              <a:t>Depuis</a:t>
            </a:r>
            <a:r>
              <a:rPr sz="2000"/>
              <a:t> </a:t>
            </a:r>
            <a:r>
              <a:rPr sz="2000" err="1"/>
              <a:t>combien</a:t>
            </a:r>
            <a:r>
              <a:rPr sz="2000"/>
              <a:t> de temps </a:t>
            </a:r>
            <a:r>
              <a:rPr sz="2000" err="1"/>
              <a:t>êtes-vous</a:t>
            </a:r>
            <a:r>
              <a:rPr sz="2000"/>
              <a:t> </a:t>
            </a:r>
            <a:r>
              <a:rPr sz="2000" err="1"/>
              <a:t>conseiller</a:t>
            </a:r>
            <a:r>
              <a:rPr sz="2000"/>
              <a:t> </a:t>
            </a:r>
            <a:r>
              <a:rPr sz="2000" err="1"/>
              <a:t>psychologue</a:t>
            </a:r>
            <a:r>
              <a:rPr sz="2000"/>
              <a:t> ?</a:t>
            </a:r>
          </a:p>
          <a:p>
            <a:r>
              <a:rPr sz="2000" err="1"/>
              <a:t>Avez-vous</a:t>
            </a:r>
            <a:r>
              <a:rPr sz="2000"/>
              <a:t> de </a:t>
            </a:r>
            <a:r>
              <a:rPr sz="2000" err="1"/>
              <a:t>l’expérience</a:t>
            </a:r>
            <a:r>
              <a:rPr sz="2000"/>
              <a:t> dans le type de </a:t>
            </a:r>
            <a:r>
              <a:rPr sz="2000" err="1"/>
              <a:t>problème</a:t>
            </a:r>
            <a:r>
              <a:rPr sz="2000"/>
              <a:t> que je rencontre ?</a:t>
            </a:r>
          </a:p>
          <a:p>
            <a:r>
              <a:rPr sz="2000" err="1"/>
              <a:t>Avez-vous</a:t>
            </a:r>
            <a:r>
              <a:rPr sz="2000"/>
              <a:t> déjà </a:t>
            </a:r>
            <a:r>
              <a:rPr sz="2000" err="1"/>
              <a:t>vous-même</a:t>
            </a:r>
            <a:r>
              <a:rPr sz="2000"/>
              <a:t> </a:t>
            </a:r>
            <a:r>
              <a:rPr sz="2000" err="1"/>
              <a:t>sollicité</a:t>
            </a:r>
            <a:r>
              <a:rPr sz="2000"/>
              <a:t> </a:t>
            </a:r>
            <a:r>
              <a:rPr sz="2000" err="1"/>
              <a:t>l’aide</a:t>
            </a:r>
            <a:r>
              <a:rPr sz="2000"/>
              <a:t> d’un </a:t>
            </a:r>
            <a:r>
              <a:rPr sz="2000" err="1"/>
              <a:t>conseiller</a:t>
            </a:r>
            <a:r>
              <a:rPr sz="2000"/>
              <a:t> </a:t>
            </a:r>
            <a:r>
              <a:rPr sz="2000" err="1"/>
              <a:t>psychologue</a:t>
            </a:r>
            <a:r>
              <a:rPr sz="2000"/>
              <a:t> ? (Si </a:t>
            </a:r>
            <a:r>
              <a:rPr sz="2000" err="1"/>
              <a:t>tel</a:t>
            </a:r>
            <a:r>
              <a:rPr sz="2000"/>
              <a:t> </a:t>
            </a:r>
            <a:r>
              <a:rPr sz="2000" err="1"/>
              <a:t>est</a:t>
            </a:r>
            <a:r>
              <a:rPr sz="2000"/>
              <a:t> le </a:t>
            </a:r>
            <a:r>
              <a:rPr sz="2000" err="1"/>
              <a:t>cas</a:t>
            </a:r>
            <a:r>
              <a:rPr sz="2000"/>
              <a:t>, </a:t>
            </a:r>
            <a:r>
              <a:rPr sz="2000" err="1"/>
              <a:t>en</a:t>
            </a:r>
            <a:r>
              <a:rPr sz="2000"/>
              <a:t> </a:t>
            </a:r>
            <a:r>
              <a:rPr sz="2000" err="1"/>
              <a:t>avez-vous</a:t>
            </a:r>
            <a:r>
              <a:rPr sz="2000"/>
              <a:t> </a:t>
            </a:r>
            <a:r>
              <a:rPr sz="2000" err="1"/>
              <a:t>retiré</a:t>
            </a:r>
            <a:r>
              <a:rPr sz="2000"/>
              <a:t> des </a:t>
            </a:r>
            <a:r>
              <a:rPr sz="2000" err="1"/>
              <a:t>bénéfices</a:t>
            </a:r>
            <a:r>
              <a:rPr sz="2000"/>
              <a:t> ?)</a:t>
            </a:r>
          </a:p>
        </p:txBody>
      </p:sp>
    </p:spTree>
    <p:extLst>
      <p:ext uri="{BB962C8B-B14F-4D97-AF65-F5344CB8AC3E}">
        <p14:creationId xmlns:p14="http://schemas.microsoft.com/office/powerpoint/2010/main" val="8331017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r>
              <a:t>6. Comment puis-je bénéficier de l’aide d’un conseiller psychologique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5405762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a:xfrm>
            <a:off x="91440" y="136526"/>
            <a:ext cx="9052560" cy="611619"/>
          </a:xfrm>
        </p:spPr>
        <p:txBody>
          <a:bodyPr/>
          <a:lstStyle/>
          <a:p>
            <a:r>
              <a:rPr sz="2000"/>
              <a:t>Le </a:t>
            </a:r>
            <a:r>
              <a:rPr sz="2000" err="1"/>
              <a:t>Programme</a:t>
            </a:r>
            <a:r>
              <a:rPr sz="2000"/>
              <a:t> </a:t>
            </a:r>
            <a:r>
              <a:rPr sz="2000" err="1"/>
              <a:t>d'aide</a:t>
            </a:r>
            <a:r>
              <a:rPr sz="2000"/>
              <a:t> aux </a:t>
            </a:r>
            <a:r>
              <a:rPr sz="2000" err="1"/>
              <a:t>employés</a:t>
            </a:r>
            <a:r>
              <a:rPr sz="2000"/>
              <a:t> et de </a:t>
            </a:r>
            <a:r>
              <a:rPr sz="2000" err="1"/>
              <a:t>résilience</a:t>
            </a:r>
            <a:r>
              <a:rPr sz="2000"/>
              <a:t> (EARP) de </a:t>
            </a:r>
            <a:r>
              <a:rPr sz="2000" err="1"/>
              <a:t>l'IRC</a:t>
            </a:r>
            <a:endParaRPr sz="2000"/>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498157" y="973454"/>
            <a:ext cx="8239125" cy="5285105"/>
          </a:xfrm>
        </p:spPr>
        <p:txBody>
          <a:bodyPr/>
          <a:lstStyle/>
          <a:p>
            <a:pPr marL="514350" indent="-514350">
              <a:lnSpc>
                <a:spcPct val="100000"/>
              </a:lnSpc>
              <a:spcAft>
                <a:spcPts val="300"/>
              </a:spcAft>
              <a:buFont typeface="+mj-lt"/>
              <a:buAutoNum type="arabicPeriod"/>
            </a:pPr>
            <a:r>
              <a:rPr sz="2000"/>
              <a:t>L’EARP </a:t>
            </a:r>
            <a:r>
              <a:rPr sz="2000" err="1"/>
              <a:t>offre</a:t>
            </a:r>
            <a:r>
              <a:rPr sz="2000"/>
              <a:t> les services </a:t>
            </a:r>
            <a:r>
              <a:rPr sz="2000" err="1"/>
              <a:t>suivants</a:t>
            </a:r>
            <a:r>
              <a:rPr sz="2000"/>
              <a:t> </a:t>
            </a:r>
            <a:r>
              <a:rPr sz="2000" err="1"/>
              <a:t>à</a:t>
            </a:r>
            <a:r>
              <a:rPr sz="2000"/>
              <a:t> </a:t>
            </a:r>
            <a:r>
              <a:rPr sz="2000" err="1"/>
              <a:t>titre</a:t>
            </a:r>
            <a:r>
              <a:rPr sz="2000"/>
              <a:t> </a:t>
            </a:r>
            <a:r>
              <a:rPr sz="2000" err="1"/>
              <a:t>gratuit</a:t>
            </a:r>
            <a:r>
              <a:rPr sz="2000"/>
              <a:t> : </a:t>
            </a:r>
          </a:p>
          <a:p>
            <a:pPr lvl="1">
              <a:lnSpc>
                <a:spcPct val="100000"/>
              </a:lnSpc>
              <a:spcAft>
                <a:spcPts val="300"/>
              </a:spcAft>
              <a:buFontTx/>
              <a:buChar char="-"/>
            </a:pPr>
            <a:r>
              <a:rPr sz="1800"/>
              <a:t>Conseil </a:t>
            </a:r>
            <a:r>
              <a:rPr sz="1800" err="1"/>
              <a:t>psychologique</a:t>
            </a:r>
            <a:endParaRPr sz="1800"/>
          </a:p>
          <a:p>
            <a:pPr lvl="1">
              <a:lnSpc>
                <a:spcPct val="100000"/>
              </a:lnSpc>
              <a:spcAft>
                <a:spcPts val="300"/>
              </a:spcAft>
              <a:buFontTx/>
              <a:buChar char="-"/>
            </a:pPr>
            <a:r>
              <a:rPr sz="1800"/>
              <a:t>Planification de la </a:t>
            </a:r>
            <a:r>
              <a:rPr sz="1800" err="1"/>
              <a:t>résilience</a:t>
            </a:r>
            <a:r>
              <a:rPr sz="1800"/>
              <a:t> et de </a:t>
            </a:r>
            <a:r>
              <a:rPr sz="1800" err="1"/>
              <a:t>l’auto-prise</a:t>
            </a:r>
            <a:r>
              <a:rPr sz="1800"/>
              <a:t> </a:t>
            </a:r>
            <a:r>
              <a:rPr sz="1800" err="1"/>
              <a:t>en</a:t>
            </a:r>
            <a:r>
              <a:rPr sz="1800"/>
              <a:t> charge </a:t>
            </a:r>
            <a:r>
              <a:rPr sz="1800" err="1"/>
              <a:t>personnalisée</a:t>
            </a:r>
            <a:endParaRPr sz="1800"/>
          </a:p>
          <a:p>
            <a:pPr lvl="1">
              <a:lnSpc>
                <a:spcPct val="100000"/>
              </a:lnSpc>
              <a:spcAft>
                <a:spcPts val="300"/>
              </a:spcAft>
              <a:buFontTx/>
              <a:buChar char="-"/>
            </a:pPr>
            <a:r>
              <a:rPr sz="1800"/>
              <a:t>Consultations du manager</a:t>
            </a:r>
          </a:p>
          <a:p>
            <a:pPr marL="514350" indent="-514350">
              <a:lnSpc>
                <a:spcPct val="100000"/>
              </a:lnSpc>
              <a:spcAft>
                <a:spcPts val="300"/>
              </a:spcAft>
              <a:buFont typeface="+mj-lt"/>
              <a:buAutoNum type="arabicPeriod"/>
            </a:pPr>
            <a:r>
              <a:rPr sz="2000"/>
              <a:t>Le </a:t>
            </a:r>
            <a:r>
              <a:rPr sz="2000" err="1"/>
              <a:t>conseil</a:t>
            </a:r>
            <a:r>
              <a:rPr sz="2000"/>
              <a:t> </a:t>
            </a:r>
            <a:r>
              <a:rPr sz="2000" err="1"/>
              <a:t>psychologique</a:t>
            </a:r>
            <a:r>
              <a:rPr sz="2000"/>
              <a:t> est...</a:t>
            </a:r>
          </a:p>
          <a:p>
            <a:pPr lvl="1">
              <a:lnSpc>
                <a:spcPct val="100000"/>
              </a:lnSpc>
              <a:spcAft>
                <a:spcPts val="300"/>
              </a:spcAft>
              <a:buFontTx/>
              <a:buChar char="-"/>
            </a:pPr>
            <a:r>
              <a:rPr sz="1800" err="1"/>
              <a:t>Gratuit</a:t>
            </a:r>
            <a:r>
              <a:rPr sz="1800"/>
              <a:t> pour les </a:t>
            </a:r>
            <a:r>
              <a:rPr sz="1800" err="1"/>
              <a:t>employés</a:t>
            </a:r>
            <a:r>
              <a:rPr sz="1800"/>
              <a:t> (et les </a:t>
            </a:r>
            <a:r>
              <a:rPr sz="1800" err="1"/>
              <a:t>membres</a:t>
            </a:r>
            <a:r>
              <a:rPr sz="1800"/>
              <a:t> de </a:t>
            </a:r>
            <a:r>
              <a:rPr sz="1800" err="1"/>
              <a:t>leur</a:t>
            </a:r>
            <a:r>
              <a:rPr sz="1800"/>
              <a:t> </a:t>
            </a:r>
            <a:r>
              <a:rPr sz="1800" err="1"/>
              <a:t>famille</a:t>
            </a:r>
            <a:r>
              <a:rPr sz="1800"/>
              <a:t>)</a:t>
            </a:r>
          </a:p>
          <a:p>
            <a:pPr lvl="1">
              <a:lnSpc>
                <a:spcPct val="100000"/>
              </a:lnSpc>
              <a:spcAft>
                <a:spcPts val="300"/>
              </a:spcAft>
              <a:buFontTx/>
              <a:buChar char="-"/>
            </a:pPr>
            <a:r>
              <a:rPr sz="1800" err="1"/>
              <a:t>Confidentiel</a:t>
            </a:r>
            <a:r>
              <a:rPr sz="1800"/>
              <a:t> (et </a:t>
            </a:r>
            <a:r>
              <a:rPr sz="1800" err="1"/>
              <a:t>l'IRC</a:t>
            </a:r>
            <a:r>
              <a:rPr sz="1800"/>
              <a:t> ne </a:t>
            </a:r>
            <a:r>
              <a:rPr sz="1800" err="1"/>
              <a:t>saura</a:t>
            </a:r>
            <a:r>
              <a:rPr sz="1800"/>
              <a:t> pas </a:t>
            </a:r>
            <a:r>
              <a:rPr sz="1800" err="1"/>
              <a:t>si</a:t>
            </a:r>
            <a:r>
              <a:rPr sz="1800"/>
              <a:t> un </a:t>
            </a:r>
            <a:r>
              <a:rPr sz="1800" err="1"/>
              <a:t>employé</a:t>
            </a:r>
            <a:r>
              <a:rPr sz="1800"/>
              <a:t> a </a:t>
            </a:r>
            <a:r>
              <a:rPr sz="1800" err="1"/>
              <a:t>utilisé</a:t>
            </a:r>
            <a:r>
              <a:rPr sz="1800"/>
              <a:t> le service, </a:t>
            </a:r>
            <a:r>
              <a:rPr sz="1800" err="1"/>
              <a:t>ni</a:t>
            </a:r>
            <a:r>
              <a:rPr sz="1800"/>
              <a:t> </a:t>
            </a:r>
            <a:r>
              <a:rPr sz="1800" err="1"/>
              <a:t>ce</a:t>
            </a:r>
            <a:r>
              <a:rPr sz="1800"/>
              <a:t> qui a </a:t>
            </a:r>
            <a:r>
              <a:rPr sz="1800" err="1"/>
              <a:t>été</a:t>
            </a:r>
            <a:r>
              <a:rPr sz="1800"/>
              <a:t> </a:t>
            </a:r>
            <a:r>
              <a:rPr sz="1800" err="1"/>
              <a:t>évoqué</a:t>
            </a:r>
            <a:r>
              <a:rPr sz="1800"/>
              <a:t>)</a:t>
            </a:r>
          </a:p>
          <a:p>
            <a:pPr lvl="1">
              <a:lnSpc>
                <a:spcPct val="100000"/>
              </a:lnSpc>
              <a:spcAft>
                <a:spcPts val="300"/>
              </a:spcAft>
              <a:buFontTx/>
              <a:buChar char="-"/>
            </a:pPr>
            <a:r>
              <a:rPr sz="1800"/>
              <a:t>Disponible dans </a:t>
            </a:r>
            <a:r>
              <a:rPr sz="1800" err="1"/>
              <a:t>plusieurs</a:t>
            </a:r>
            <a:r>
              <a:rPr sz="1800"/>
              <a:t> </a:t>
            </a:r>
            <a:r>
              <a:rPr sz="1800" err="1"/>
              <a:t>langues</a:t>
            </a:r>
            <a:r>
              <a:rPr sz="1800"/>
              <a:t> (</a:t>
            </a:r>
            <a:r>
              <a:rPr sz="1800" err="1"/>
              <a:t>KonTerra</a:t>
            </a:r>
            <a:r>
              <a:rPr sz="1800"/>
              <a:t> dispose de </a:t>
            </a:r>
            <a:r>
              <a:rPr sz="1800" err="1"/>
              <a:t>conseillers</a:t>
            </a:r>
            <a:r>
              <a:rPr sz="1800"/>
              <a:t> </a:t>
            </a:r>
            <a:r>
              <a:rPr sz="1800" err="1"/>
              <a:t>psychologues</a:t>
            </a:r>
            <a:r>
              <a:rPr sz="1800"/>
              <a:t> </a:t>
            </a:r>
            <a:r>
              <a:rPr sz="1800" err="1"/>
              <a:t>parlant</a:t>
            </a:r>
            <a:r>
              <a:rPr sz="1800"/>
              <a:t> </a:t>
            </a:r>
            <a:r>
              <a:rPr sz="1800" err="1"/>
              <a:t>diverses</a:t>
            </a:r>
            <a:r>
              <a:rPr sz="1800"/>
              <a:t> </a:t>
            </a:r>
            <a:r>
              <a:rPr sz="1800" err="1"/>
              <a:t>langues</a:t>
            </a:r>
            <a:r>
              <a:rPr sz="1800"/>
              <a:t>)</a:t>
            </a:r>
          </a:p>
          <a:p>
            <a:pPr lvl="1">
              <a:lnSpc>
                <a:spcPct val="100000"/>
              </a:lnSpc>
              <a:spcAft>
                <a:spcPts val="300"/>
              </a:spcAft>
              <a:buFontTx/>
              <a:buChar char="-"/>
            </a:pPr>
            <a:r>
              <a:rPr sz="1800" err="1"/>
              <a:t>Fourni</a:t>
            </a:r>
            <a:r>
              <a:rPr sz="1800"/>
              <a:t> par des </a:t>
            </a:r>
            <a:r>
              <a:rPr sz="1800" err="1"/>
              <a:t>conseillers</a:t>
            </a:r>
            <a:r>
              <a:rPr sz="1800"/>
              <a:t> </a:t>
            </a:r>
            <a:r>
              <a:rPr sz="1800" err="1"/>
              <a:t>psychologues</a:t>
            </a:r>
            <a:r>
              <a:rPr sz="1800"/>
              <a:t> qui </a:t>
            </a:r>
            <a:r>
              <a:rPr sz="1800" err="1"/>
              <a:t>disposent</a:t>
            </a:r>
            <a:r>
              <a:rPr sz="1800"/>
              <a:t> </a:t>
            </a:r>
            <a:r>
              <a:rPr sz="1800" err="1"/>
              <a:t>eux-mêmes</a:t>
            </a:r>
            <a:r>
              <a:rPr sz="1800"/>
              <a:t> </a:t>
            </a:r>
            <a:r>
              <a:rPr sz="1800" err="1"/>
              <a:t>d'une</a:t>
            </a:r>
            <a:r>
              <a:rPr sz="1800"/>
              <a:t> </a:t>
            </a:r>
            <a:r>
              <a:rPr sz="1800" err="1"/>
              <a:t>expérience</a:t>
            </a:r>
            <a:r>
              <a:rPr sz="1800"/>
              <a:t> </a:t>
            </a:r>
            <a:r>
              <a:rPr sz="1800" err="1"/>
              <a:t>internationale</a:t>
            </a:r>
            <a:r>
              <a:rPr sz="1800"/>
              <a:t> et qui </a:t>
            </a:r>
            <a:r>
              <a:rPr sz="1800" err="1"/>
              <a:t>ont</a:t>
            </a:r>
            <a:r>
              <a:rPr sz="1800"/>
              <a:t> </a:t>
            </a:r>
            <a:r>
              <a:rPr sz="1800" err="1"/>
              <a:t>travaillé</a:t>
            </a:r>
            <a:r>
              <a:rPr sz="1800"/>
              <a:t> au sein </a:t>
            </a:r>
            <a:r>
              <a:rPr sz="1800" err="1"/>
              <a:t>d’organisations</a:t>
            </a:r>
            <a:r>
              <a:rPr sz="1800"/>
              <a:t> </a:t>
            </a:r>
            <a:r>
              <a:rPr sz="1800" err="1"/>
              <a:t>humanitaires</a:t>
            </a:r>
            <a:r>
              <a:rPr sz="1800"/>
              <a:t> et de </a:t>
            </a:r>
            <a:r>
              <a:rPr sz="1800" err="1"/>
              <a:t>développement</a:t>
            </a:r>
            <a:endParaRPr sz="1800"/>
          </a:p>
          <a:p>
            <a:pPr lvl="1">
              <a:buFontTx/>
              <a:buChar char="-"/>
            </a:pPr>
            <a:endParaRPr lang="en-US" sz="2000"/>
          </a:p>
          <a:p>
            <a:pPr marL="457200" lvl="1" indent="0">
              <a:buNone/>
            </a:pPr>
            <a:endParaRPr lang="en-US" sz="2000"/>
          </a:p>
          <a:p>
            <a:pPr lvl="1">
              <a:buFontTx/>
              <a:buChar char="-"/>
            </a:pPr>
            <a:endParaRPr lang="en-US"/>
          </a:p>
          <a:p>
            <a:pPr marL="971550" lvl="1" indent="-514350">
              <a:buFont typeface="+mj-lt"/>
              <a:buAutoNum type="arabicPeriod"/>
            </a:pPr>
            <a:endParaRPr lang="en-US"/>
          </a:p>
        </p:txBody>
      </p:sp>
    </p:spTree>
    <p:extLst>
      <p:ext uri="{BB962C8B-B14F-4D97-AF65-F5344CB8AC3E}">
        <p14:creationId xmlns:p14="http://schemas.microsoft.com/office/powerpoint/2010/main" val="18823116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91F1E-F5E6-0444-8D7C-B705A6F3E27A}"/>
              </a:ext>
            </a:extLst>
          </p:cNvPr>
          <p:cNvSpPr>
            <a:spLocks noGrp="1"/>
          </p:cNvSpPr>
          <p:nvPr>
            <p:ph type="title"/>
          </p:nvPr>
        </p:nvSpPr>
        <p:spPr/>
        <p:txBody>
          <a:bodyPr/>
          <a:lstStyle/>
          <a:p>
            <a:r>
              <a:rPr sz="2000"/>
              <a:t>Ce qui se </a:t>
            </a:r>
            <a:r>
              <a:rPr sz="2000" err="1"/>
              <a:t>passe</a:t>
            </a:r>
            <a:r>
              <a:rPr sz="2000"/>
              <a:t> </a:t>
            </a:r>
            <a:r>
              <a:rPr sz="2000" err="1"/>
              <a:t>lorsque</a:t>
            </a:r>
            <a:r>
              <a:rPr sz="2000"/>
              <a:t> </a:t>
            </a:r>
            <a:r>
              <a:rPr sz="2000" err="1"/>
              <a:t>vous</a:t>
            </a:r>
            <a:r>
              <a:rPr sz="2000"/>
              <a:t> </a:t>
            </a:r>
            <a:r>
              <a:rPr sz="2000" err="1"/>
              <a:t>contactez</a:t>
            </a:r>
            <a:r>
              <a:rPr sz="2000"/>
              <a:t> </a:t>
            </a:r>
            <a:r>
              <a:rPr sz="2000" err="1"/>
              <a:t>KonTerra</a:t>
            </a:r>
            <a:r>
              <a:rPr sz="2000"/>
              <a:t>...</a:t>
            </a:r>
          </a:p>
        </p:txBody>
      </p:sp>
      <p:sp>
        <p:nvSpPr>
          <p:cNvPr id="3" name="Text Placeholder 2">
            <a:extLst>
              <a:ext uri="{FF2B5EF4-FFF2-40B4-BE49-F238E27FC236}">
                <a16:creationId xmlns:a16="http://schemas.microsoft.com/office/drawing/2014/main" id="{948953FC-5D40-584B-93DD-160DCF362D06}"/>
              </a:ext>
            </a:extLst>
          </p:cNvPr>
          <p:cNvSpPr>
            <a:spLocks noGrp="1"/>
          </p:cNvSpPr>
          <p:nvPr>
            <p:ph type="body" sz="quarter" idx="10"/>
          </p:nvPr>
        </p:nvSpPr>
        <p:spPr>
          <a:xfrm>
            <a:off x="461963" y="1146175"/>
            <a:ext cx="8239125" cy="6376843"/>
          </a:xfrm>
        </p:spPr>
        <p:txBody>
          <a:bodyPr/>
          <a:lstStyle/>
          <a:p>
            <a:pPr>
              <a:lnSpc>
                <a:spcPct val="100000"/>
              </a:lnSpc>
              <a:spcBef>
                <a:spcPts val="600"/>
              </a:spcBef>
              <a:spcAft>
                <a:spcPts val="600"/>
              </a:spcAft>
              <a:buSzPct val="80000"/>
              <a:defRPr/>
            </a:pPr>
            <a:r>
              <a:rPr sz="2000">
                <a:cs typeface="Aharoni" panose="02010803020104030203" pitchFamily="2" charset="-79"/>
              </a:rPr>
              <a:t>Les </a:t>
            </a:r>
            <a:r>
              <a:rPr sz="2000" err="1">
                <a:cs typeface="Aharoni" panose="02010803020104030203" pitchFamily="2" charset="-79"/>
              </a:rPr>
              <a:t>employés</a:t>
            </a:r>
            <a:r>
              <a:rPr sz="2000">
                <a:cs typeface="Aharoni" panose="02010803020104030203" pitchFamily="2" charset="-79"/>
              </a:rPr>
              <a:t> </a:t>
            </a:r>
            <a:r>
              <a:rPr sz="2000" err="1">
                <a:cs typeface="Aharoni" panose="02010803020104030203" pitchFamily="2" charset="-79"/>
              </a:rPr>
              <a:t>sont</a:t>
            </a:r>
            <a:r>
              <a:rPr sz="2000">
                <a:cs typeface="Aharoni" panose="02010803020104030203" pitchFamily="2" charset="-79"/>
              </a:rPr>
              <a:t> mis </a:t>
            </a:r>
            <a:r>
              <a:rPr sz="2000" err="1">
                <a:cs typeface="Aharoni" panose="02010803020104030203" pitchFamily="2" charset="-79"/>
              </a:rPr>
              <a:t>en</a:t>
            </a:r>
            <a:r>
              <a:rPr sz="2000">
                <a:cs typeface="Aharoni" panose="02010803020104030203" pitchFamily="2" charset="-79"/>
              </a:rPr>
              <a:t> relation avec un consultant </a:t>
            </a:r>
            <a:r>
              <a:rPr sz="2000" err="1">
                <a:cs typeface="Aharoni" panose="02010803020104030203" pitchFamily="2" charset="-79"/>
              </a:rPr>
              <a:t>expérimenté</a:t>
            </a:r>
            <a:r>
              <a:rPr sz="2000">
                <a:cs typeface="Aharoni" panose="02010803020104030203" pitchFamily="2" charset="-79"/>
              </a:rPr>
              <a:t> pour </a:t>
            </a:r>
            <a:r>
              <a:rPr sz="2000" err="1">
                <a:cs typeface="Aharoni" panose="02010803020104030203" pitchFamily="2" charset="-79"/>
              </a:rPr>
              <a:t>obtenir</a:t>
            </a:r>
            <a:r>
              <a:rPr sz="2000">
                <a:cs typeface="Aharoni" panose="02010803020104030203" pitchFamily="2" charset="-79"/>
              </a:rPr>
              <a:t> des consultations </a:t>
            </a:r>
            <a:r>
              <a:rPr sz="2000" err="1">
                <a:cs typeface="Aharoni" panose="02010803020104030203" pitchFamily="2" charset="-79"/>
              </a:rPr>
              <a:t>confidentielles</a:t>
            </a:r>
            <a:r>
              <a:rPr sz="2000">
                <a:cs typeface="Aharoni" panose="02010803020104030203" pitchFamily="2" charset="-79"/>
              </a:rPr>
              <a:t> </a:t>
            </a:r>
            <a:r>
              <a:rPr sz="2000" err="1">
                <a:cs typeface="Aharoni" panose="02010803020104030203" pitchFamily="2" charset="-79"/>
              </a:rPr>
              <a:t>en</a:t>
            </a:r>
            <a:r>
              <a:rPr sz="2000">
                <a:cs typeface="Aharoni" panose="02010803020104030203" pitchFamily="2" charset="-79"/>
              </a:rPr>
              <a:t> tête </a:t>
            </a:r>
            <a:r>
              <a:rPr sz="2000" err="1">
                <a:cs typeface="Aharoni" panose="02010803020104030203" pitchFamily="2" charset="-79"/>
              </a:rPr>
              <a:t>à</a:t>
            </a:r>
            <a:r>
              <a:rPr sz="2000">
                <a:cs typeface="Aharoni" panose="02010803020104030203" pitchFamily="2" charset="-79"/>
              </a:rPr>
              <a:t> tête</a:t>
            </a:r>
          </a:p>
          <a:p>
            <a:pPr>
              <a:lnSpc>
                <a:spcPct val="100000"/>
              </a:lnSpc>
              <a:spcBef>
                <a:spcPts val="600"/>
              </a:spcBef>
              <a:spcAft>
                <a:spcPts val="600"/>
              </a:spcAft>
              <a:buSzPct val="80000"/>
              <a:defRPr/>
            </a:pPr>
            <a:r>
              <a:rPr sz="2000">
                <a:cs typeface="Aharoni" panose="02010803020104030203" pitchFamily="2" charset="-79"/>
              </a:rPr>
              <a:t>Les séances se </a:t>
            </a:r>
            <a:r>
              <a:rPr sz="2000" err="1">
                <a:cs typeface="Aharoni" panose="02010803020104030203" pitchFamily="2" charset="-79"/>
              </a:rPr>
              <a:t>déroulent</a:t>
            </a:r>
            <a:r>
              <a:rPr sz="2000">
                <a:cs typeface="Aharoni" panose="02010803020104030203" pitchFamily="2" charset="-79"/>
              </a:rPr>
              <a:t> via Skype, WhatsApp, par </a:t>
            </a:r>
            <a:r>
              <a:rPr sz="2000" err="1">
                <a:cs typeface="Aharoni" panose="02010803020104030203" pitchFamily="2" charset="-79"/>
              </a:rPr>
              <a:t>téléphone</a:t>
            </a:r>
            <a:r>
              <a:rPr sz="2000">
                <a:cs typeface="Aharoni" panose="02010803020104030203" pitchFamily="2" charset="-79"/>
              </a:rPr>
              <a:t> </a:t>
            </a:r>
            <a:r>
              <a:rPr sz="2000" err="1">
                <a:cs typeface="Aharoni" panose="02010803020104030203" pitchFamily="2" charset="-79"/>
              </a:rPr>
              <a:t>ou</a:t>
            </a:r>
            <a:r>
              <a:rPr sz="2000">
                <a:cs typeface="Aharoni" panose="02010803020104030203" pitchFamily="2" charset="-79"/>
              </a:rPr>
              <a:t> </a:t>
            </a:r>
            <a:r>
              <a:rPr sz="2000" err="1">
                <a:cs typeface="Aharoni" panose="02010803020104030203" pitchFamily="2" charset="-79"/>
              </a:rPr>
              <a:t>en</a:t>
            </a:r>
            <a:r>
              <a:rPr sz="2000">
                <a:cs typeface="Aharoni" panose="02010803020104030203" pitchFamily="2" charset="-79"/>
              </a:rPr>
              <a:t> </a:t>
            </a:r>
            <a:r>
              <a:rPr sz="2000" err="1">
                <a:cs typeface="Aharoni" panose="02010803020104030203" pitchFamily="2" charset="-79"/>
              </a:rPr>
              <a:t>personne</a:t>
            </a:r>
            <a:r>
              <a:rPr sz="2000">
                <a:cs typeface="Aharoni" panose="02010803020104030203" pitchFamily="2" charset="-79"/>
              </a:rPr>
              <a:t> dans de </a:t>
            </a:r>
            <a:r>
              <a:rPr sz="2000" err="1">
                <a:cs typeface="Aharoni" panose="02010803020104030203" pitchFamily="2" charset="-79"/>
              </a:rPr>
              <a:t>nombreux</a:t>
            </a:r>
            <a:r>
              <a:rPr sz="2000">
                <a:cs typeface="Aharoni" panose="02010803020104030203" pitchFamily="2" charset="-79"/>
              </a:rPr>
              <a:t> </a:t>
            </a:r>
            <a:r>
              <a:rPr sz="2000" err="1">
                <a:cs typeface="Aharoni" panose="02010803020104030203" pitchFamily="2" charset="-79"/>
              </a:rPr>
              <a:t>endroits</a:t>
            </a:r>
            <a:endParaRPr lang="en-US" sz="2000">
              <a:cs typeface="Aharoni" panose="02010803020104030203" pitchFamily="2" charset="-79"/>
            </a:endParaRPr>
          </a:p>
          <a:p>
            <a:pPr>
              <a:lnSpc>
                <a:spcPct val="100000"/>
              </a:lnSpc>
              <a:spcBef>
                <a:spcPts val="600"/>
              </a:spcBef>
              <a:spcAft>
                <a:spcPts val="600"/>
              </a:spcAft>
              <a:buSzPct val="80000"/>
              <a:defRPr/>
            </a:pPr>
            <a:r>
              <a:rPr sz="2000">
                <a:cs typeface="Aharoni" panose="02010803020104030203" pitchFamily="2" charset="-79"/>
              </a:rPr>
              <a:t>6 séances par </a:t>
            </a:r>
            <a:r>
              <a:rPr sz="2000" err="1">
                <a:cs typeface="Aharoni" panose="02010803020104030203" pitchFamily="2" charset="-79"/>
              </a:rPr>
              <a:t>préoccupation</a:t>
            </a:r>
            <a:r>
              <a:rPr sz="2000">
                <a:cs typeface="Aharoni" panose="02010803020104030203" pitchFamily="2" charset="-79"/>
              </a:rPr>
              <a:t>, par </a:t>
            </a:r>
            <a:r>
              <a:rPr sz="2000" err="1">
                <a:cs typeface="Aharoni" panose="02010803020104030203" pitchFamily="2" charset="-79"/>
              </a:rPr>
              <a:t>employé</a:t>
            </a:r>
            <a:r>
              <a:rPr sz="2000">
                <a:cs typeface="Aharoni" panose="02010803020104030203" pitchFamily="2" charset="-79"/>
              </a:rPr>
              <a:t>/</a:t>
            </a:r>
            <a:r>
              <a:rPr sz="2000" err="1">
                <a:cs typeface="Aharoni" panose="02010803020104030203" pitchFamily="2" charset="-79"/>
              </a:rPr>
              <a:t>membre</a:t>
            </a:r>
            <a:r>
              <a:rPr sz="2000">
                <a:cs typeface="Aharoni" panose="02010803020104030203" pitchFamily="2" charset="-79"/>
              </a:rPr>
              <a:t> de </a:t>
            </a:r>
            <a:r>
              <a:rPr sz="2000" err="1">
                <a:cs typeface="Aharoni" panose="02010803020104030203" pitchFamily="2" charset="-79"/>
              </a:rPr>
              <a:t>sa</a:t>
            </a:r>
            <a:r>
              <a:rPr sz="2000">
                <a:cs typeface="Aharoni" panose="02010803020104030203" pitchFamily="2" charset="-79"/>
              </a:rPr>
              <a:t> </a:t>
            </a:r>
            <a:r>
              <a:rPr sz="2000" err="1">
                <a:cs typeface="Aharoni" panose="02010803020104030203" pitchFamily="2" charset="-79"/>
              </a:rPr>
              <a:t>famille</a:t>
            </a:r>
            <a:r>
              <a:rPr sz="2000">
                <a:cs typeface="Aharoni" panose="02010803020104030203" pitchFamily="2" charset="-79"/>
              </a:rPr>
              <a:t>. </a:t>
            </a:r>
            <a:r>
              <a:rPr sz="2000" err="1">
                <a:cs typeface="Aharoni" panose="02010803020104030203" pitchFamily="2" charset="-79"/>
              </a:rPr>
              <a:t>Préoccupations</a:t>
            </a:r>
            <a:r>
              <a:rPr sz="2000">
                <a:cs typeface="Aharoni" panose="02010803020104030203" pitchFamily="2" charset="-79"/>
              </a:rPr>
              <a:t> </a:t>
            </a:r>
            <a:r>
              <a:rPr sz="2000" err="1">
                <a:cs typeface="Aharoni" panose="02010803020104030203" pitchFamily="2" charset="-79"/>
              </a:rPr>
              <a:t>illimitées</a:t>
            </a:r>
            <a:endParaRPr lang="en-US" sz="2000">
              <a:cs typeface="Aharoni" panose="02010803020104030203" pitchFamily="2" charset="-79"/>
            </a:endParaRPr>
          </a:p>
          <a:p>
            <a:pPr>
              <a:lnSpc>
                <a:spcPct val="100000"/>
              </a:lnSpc>
              <a:spcBef>
                <a:spcPts val="600"/>
              </a:spcBef>
              <a:spcAft>
                <a:spcPts val="600"/>
              </a:spcAft>
              <a:buSzPct val="80000"/>
              <a:defRPr/>
            </a:pPr>
            <a:r>
              <a:rPr sz="2000" err="1"/>
              <a:t>L’utilisation</a:t>
            </a:r>
            <a:r>
              <a:rPr sz="2000"/>
              <a:t> du service </a:t>
            </a:r>
            <a:r>
              <a:rPr sz="2000" err="1"/>
              <a:t>est</a:t>
            </a:r>
            <a:r>
              <a:rPr sz="2000"/>
              <a:t> </a:t>
            </a:r>
            <a:r>
              <a:rPr sz="2000" u="sng" err="1"/>
              <a:t>gratuite</a:t>
            </a:r>
            <a:endParaRPr sz="2000" u="sng"/>
          </a:p>
          <a:p>
            <a:pPr>
              <a:lnSpc>
                <a:spcPct val="100000"/>
              </a:lnSpc>
              <a:spcBef>
                <a:spcPts val="600"/>
              </a:spcBef>
              <a:spcAft>
                <a:spcPts val="600"/>
              </a:spcAft>
              <a:buSzPct val="80000"/>
              <a:defRPr/>
            </a:pPr>
            <a:r>
              <a:rPr sz="2000" err="1"/>
              <a:t>Cette</a:t>
            </a:r>
            <a:r>
              <a:rPr sz="2000"/>
              <a:t> </a:t>
            </a:r>
            <a:r>
              <a:rPr sz="2000" err="1"/>
              <a:t>ressource</a:t>
            </a:r>
            <a:r>
              <a:rPr sz="2000"/>
              <a:t> </a:t>
            </a:r>
            <a:r>
              <a:rPr sz="2000" err="1"/>
              <a:t>n’est</a:t>
            </a:r>
            <a:r>
              <a:rPr sz="2000"/>
              <a:t> </a:t>
            </a:r>
            <a:r>
              <a:rPr sz="2000" b="1"/>
              <a:t>pas</a:t>
            </a:r>
            <a:r>
              <a:rPr sz="2000"/>
              <a:t> </a:t>
            </a:r>
            <a:r>
              <a:rPr sz="2000" err="1"/>
              <a:t>obligatoire</a:t>
            </a:r>
            <a:r>
              <a:rPr sz="2000"/>
              <a:t>. Il </a:t>
            </a:r>
            <a:r>
              <a:rPr sz="2000" err="1"/>
              <a:t>appartient</a:t>
            </a:r>
            <a:r>
              <a:rPr sz="2000"/>
              <a:t> </a:t>
            </a:r>
            <a:r>
              <a:rPr sz="2000" err="1"/>
              <a:t>à</a:t>
            </a:r>
            <a:r>
              <a:rPr sz="2000"/>
              <a:t> </a:t>
            </a:r>
            <a:r>
              <a:rPr sz="2000" err="1"/>
              <a:t>chacun</a:t>
            </a:r>
            <a:r>
              <a:rPr sz="2000"/>
              <a:t> de </a:t>
            </a:r>
            <a:r>
              <a:rPr sz="2000" err="1"/>
              <a:t>décider</a:t>
            </a:r>
            <a:r>
              <a:rPr sz="2000"/>
              <a:t> </a:t>
            </a:r>
            <a:r>
              <a:rPr sz="2000" err="1"/>
              <a:t>s’il</a:t>
            </a:r>
            <a:r>
              <a:rPr sz="2000"/>
              <a:t> </a:t>
            </a:r>
            <a:r>
              <a:rPr sz="2000" err="1"/>
              <a:t>souhaite</a:t>
            </a:r>
            <a:r>
              <a:rPr sz="2000"/>
              <a:t> </a:t>
            </a:r>
            <a:r>
              <a:rPr sz="2000" err="1"/>
              <a:t>ou</a:t>
            </a:r>
            <a:r>
              <a:rPr sz="2000"/>
              <a:t> non </a:t>
            </a:r>
            <a:r>
              <a:rPr sz="2000" err="1"/>
              <a:t>tirer</a:t>
            </a:r>
            <a:r>
              <a:rPr sz="2000"/>
              <a:t> </a:t>
            </a:r>
            <a:r>
              <a:rPr sz="2000" err="1"/>
              <a:t>parti</a:t>
            </a:r>
            <a:r>
              <a:rPr sz="2000"/>
              <a:t> de </a:t>
            </a:r>
            <a:r>
              <a:rPr sz="2000" err="1"/>
              <a:t>ces</a:t>
            </a:r>
            <a:r>
              <a:rPr sz="2000"/>
              <a:t> services</a:t>
            </a:r>
          </a:p>
        </p:txBody>
      </p:sp>
    </p:spTree>
    <p:extLst>
      <p:ext uri="{BB962C8B-B14F-4D97-AF65-F5344CB8AC3E}">
        <p14:creationId xmlns:p14="http://schemas.microsoft.com/office/powerpoint/2010/main" val="4815229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05D5F-AEEC-F346-94D6-7FD63B35DD97}"/>
              </a:ext>
            </a:extLst>
          </p:cNvPr>
          <p:cNvSpPr>
            <a:spLocks noGrp="1"/>
          </p:cNvSpPr>
          <p:nvPr>
            <p:ph type="title"/>
          </p:nvPr>
        </p:nvSpPr>
        <p:spPr/>
        <p:txBody>
          <a:bodyPr/>
          <a:lstStyle/>
          <a:p>
            <a:r>
              <a:t>Comment programmer une session</a:t>
            </a:r>
          </a:p>
        </p:txBody>
      </p:sp>
      <p:sp>
        <p:nvSpPr>
          <p:cNvPr id="3" name="Text Placeholder 2">
            <a:extLst>
              <a:ext uri="{FF2B5EF4-FFF2-40B4-BE49-F238E27FC236}">
                <a16:creationId xmlns:a16="http://schemas.microsoft.com/office/drawing/2014/main" id="{AAE32A6A-2861-5D45-AA12-84A75CCEB09D}"/>
              </a:ext>
            </a:extLst>
          </p:cNvPr>
          <p:cNvSpPr>
            <a:spLocks noGrp="1"/>
          </p:cNvSpPr>
          <p:nvPr>
            <p:ph type="body" sz="quarter" idx="10"/>
          </p:nvPr>
        </p:nvSpPr>
        <p:spPr>
          <a:xfrm>
            <a:off x="461963" y="1146174"/>
            <a:ext cx="8239125" cy="4886325"/>
          </a:xfrm>
        </p:spPr>
        <p:txBody>
          <a:bodyPr/>
          <a:lstStyle/>
          <a:p>
            <a:pPr marL="0" indent="0">
              <a:spcBef>
                <a:spcPct val="0"/>
              </a:spcBef>
              <a:spcAft>
                <a:spcPts val="600"/>
              </a:spcAft>
              <a:buSzPct val="80000"/>
              <a:buNone/>
              <a:defRPr/>
            </a:pPr>
            <a:r>
              <a:rPr sz="2000" b="1" u="sng"/>
              <a:t>E-mail :</a:t>
            </a:r>
          </a:p>
          <a:p>
            <a:pPr marL="342891" indent="-342891">
              <a:spcBef>
                <a:spcPct val="0"/>
              </a:spcBef>
              <a:spcAft>
                <a:spcPts val="600"/>
              </a:spcAft>
              <a:buSzPct val="80000"/>
              <a:defRPr/>
            </a:pPr>
            <a:r>
              <a:rPr sz="1800"/>
              <a:t>Si </a:t>
            </a:r>
            <a:r>
              <a:rPr sz="1800" err="1"/>
              <a:t>vous</a:t>
            </a:r>
            <a:r>
              <a:rPr sz="1800"/>
              <a:t> </a:t>
            </a:r>
            <a:r>
              <a:rPr sz="1800" err="1"/>
              <a:t>souhaitez</a:t>
            </a:r>
            <a:r>
              <a:rPr sz="1800"/>
              <a:t> </a:t>
            </a:r>
            <a:r>
              <a:rPr sz="1800" err="1"/>
              <a:t>vous</a:t>
            </a:r>
            <a:r>
              <a:rPr sz="1800"/>
              <a:t> </a:t>
            </a:r>
            <a:r>
              <a:rPr sz="1800" err="1"/>
              <a:t>adresser</a:t>
            </a:r>
            <a:r>
              <a:rPr sz="1800"/>
              <a:t> </a:t>
            </a:r>
            <a:r>
              <a:rPr sz="1800" err="1"/>
              <a:t>à</a:t>
            </a:r>
            <a:r>
              <a:rPr sz="1800"/>
              <a:t> un consultant </a:t>
            </a:r>
            <a:r>
              <a:rPr sz="1800" err="1"/>
              <a:t>KonTerra</a:t>
            </a:r>
            <a:r>
              <a:rPr sz="1800"/>
              <a:t>, </a:t>
            </a:r>
            <a:r>
              <a:rPr sz="1800" err="1"/>
              <a:t>il</a:t>
            </a:r>
            <a:r>
              <a:rPr sz="1800"/>
              <a:t> </a:t>
            </a:r>
            <a:r>
              <a:rPr sz="1800" err="1"/>
              <a:t>vous</a:t>
            </a:r>
            <a:r>
              <a:rPr sz="1800"/>
              <a:t> </a:t>
            </a:r>
            <a:r>
              <a:rPr sz="1800" err="1"/>
              <a:t>suffit</a:t>
            </a:r>
            <a:r>
              <a:rPr sz="1800"/>
              <a:t> </a:t>
            </a:r>
            <a:r>
              <a:rPr sz="1800" err="1"/>
              <a:t>d’envoyer</a:t>
            </a:r>
            <a:r>
              <a:rPr sz="1800"/>
              <a:t> un e-mail </a:t>
            </a:r>
            <a:r>
              <a:rPr sz="1800" err="1"/>
              <a:t>à</a:t>
            </a:r>
            <a:r>
              <a:rPr sz="1800"/>
              <a:t> : </a:t>
            </a:r>
            <a:r>
              <a:rPr sz="1800" u="sng" err="1"/>
              <a:t>IRC</a:t>
            </a:r>
            <a:r>
              <a:rPr sz="1800" err="1">
                <a:hlinkClick r:id="rId3">
                  <a:extLst>
                    <a:ext uri="{A12FA001-AC4F-418D-AE19-62706E023703}">
                      <ahyp:hlinkClr xmlns:ahyp="http://schemas.microsoft.com/office/drawing/2018/hyperlinkcolor" val="tx"/>
                    </a:ext>
                  </a:extLst>
                </a:hlinkClick>
              </a:rPr>
              <a:t>@konterragroup.net</a:t>
            </a:r>
            <a:r>
              <a:rPr sz="1800"/>
              <a:t> </a:t>
            </a:r>
            <a:r>
              <a:rPr sz="1800" err="1"/>
              <a:t>en</a:t>
            </a:r>
            <a:r>
              <a:rPr sz="1800"/>
              <a:t> </a:t>
            </a:r>
            <a:r>
              <a:rPr sz="1800" err="1"/>
              <a:t>incluant</a:t>
            </a:r>
            <a:r>
              <a:rPr sz="1800"/>
              <a:t> les </a:t>
            </a:r>
            <a:r>
              <a:rPr sz="1800" err="1"/>
              <a:t>éléments</a:t>
            </a:r>
            <a:r>
              <a:rPr sz="1800"/>
              <a:t> </a:t>
            </a:r>
            <a:r>
              <a:rPr sz="1800" err="1"/>
              <a:t>suivants</a:t>
            </a:r>
            <a:r>
              <a:rPr sz="1800"/>
              <a:t> :</a:t>
            </a:r>
          </a:p>
          <a:p>
            <a:pPr marL="1200141" lvl="2" indent="-342891">
              <a:lnSpc>
                <a:spcPct val="110000"/>
              </a:lnSpc>
              <a:spcBef>
                <a:spcPct val="0"/>
              </a:spcBef>
              <a:buSzPct val="80000"/>
              <a:defRPr/>
            </a:pPr>
            <a:r>
              <a:rPr sz="1600"/>
              <a:t>Nom et site</a:t>
            </a:r>
          </a:p>
          <a:p>
            <a:pPr marL="1200141" lvl="2" indent="-342891">
              <a:lnSpc>
                <a:spcPct val="110000"/>
              </a:lnSpc>
              <a:spcBef>
                <a:spcPct val="0"/>
              </a:spcBef>
              <a:buSzPct val="80000"/>
              <a:defRPr/>
            </a:pPr>
            <a:r>
              <a:rPr sz="1600" err="1"/>
              <a:t>Plusieurs</a:t>
            </a:r>
            <a:r>
              <a:rPr sz="1600"/>
              <a:t> </a:t>
            </a:r>
            <a:r>
              <a:rPr sz="1600" err="1"/>
              <a:t>périodes</a:t>
            </a:r>
            <a:r>
              <a:rPr sz="1600"/>
              <a:t> </a:t>
            </a:r>
            <a:r>
              <a:rPr sz="1600" err="1"/>
              <a:t>d’une</a:t>
            </a:r>
            <a:r>
              <a:rPr sz="1600"/>
              <a:t> </a:t>
            </a:r>
            <a:r>
              <a:rPr sz="1600" err="1"/>
              <a:t>heure</a:t>
            </a:r>
            <a:r>
              <a:rPr sz="1600"/>
              <a:t> </a:t>
            </a:r>
            <a:r>
              <a:rPr sz="1600" err="1"/>
              <a:t>durant</a:t>
            </a:r>
            <a:r>
              <a:rPr sz="1600"/>
              <a:t> </a:t>
            </a:r>
            <a:r>
              <a:rPr sz="1600" err="1"/>
              <a:t>lesquelles</a:t>
            </a:r>
            <a:r>
              <a:rPr sz="1600"/>
              <a:t> </a:t>
            </a:r>
            <a:r>
              <a:rPr sz="1600" err="1"/>
              <a:t>vous</a:t>
            </a:r>
            <a:r>
              <a:rPr sz="1600"/>
              <a:t> </a:t>
            </a:r>
            <a:r>
              <a:rPr sz="1600" err="1"/>
              <a:t>êtes</a:t>
            </a:r>
            <a:r>
              <a:rPr sz="1600"/>
              <a:t> disponible au </a:t>
            </a:r>
            <a:r>
              <a:rPr sz="1600" err="1"/>
              <a:t>cours</a:t>
            </a:r>
            <a:r>
              <a:rPr sz="1600"/>
              <a:t> des 3 </a:t>
            </a:r>
            <a:r>
              <a:rPr sz="1600" err="1"/>
              <a:t>prochains</a:t>
            </a:r>
            <a:r>
              <a:rPr sz="1600"/>
              <a:t> </a:t>
            </a:r>
            <a:r>
              <a:rPr sz="1600" err="1"/>
              <a:t>jours</a:t>
            </a:r>
            <a:r>
              <a:rPr sz="1600"/>
              <a:t>.</a:t>
            </a:r>
          </a:p>
          <a:p>
            <a:pPr marL="1200141" lvl="2" indent="-342891">
              <a:lnSpc>
                <a:spcPct val="110000"/>
              </a:lnSpc>
              <a:spcBef>
                <a:spcPct val="0"/>
              </a:spcBef>
              <a:buSzPct val="80000"/>
              <a:defRPr/>
            </a:pPr>
            <a:r>
              <a:rPr sz="1600" err="1"/>
              <a:t>Préférences</a:t>
            </a:r>
            <a:r>
              <a:rPr sz="1600"/>
              <a:t> </a:t>
            </a:r>
            <a:r>
              <a:rPr sz="1600" err="1"/>
              <a:t>concernant</a:t>
            </a:r>
            <a:r>
              <a:rPr sz="1600"/>
              <a:t> le </a:t>
            </a:r>
            <a:r>
              <a:rPr sz="1600" err="1"/>
              <a:t>conseiller</a:t>
            </a:r>
            <a:r>
              <a:rPr sz="1600"/>
              <a:t> </a:t>
            </a:r>
            <a:r>
              <a:rPr sz="1600" err="1"/>
              <a:t>psychologue</a:t>
            </a:r>
            <a:r>
              <a:rPr sz="1600"/>
              <a:t> (p. ex. homme/femme, langue, etc.)</a:t>
            </a:r>
          </a:p>
          <a:p>
            <a:pPr marL="1200141" lvl="2" indent="-342891">
              <a:lnSpc>
                <a:spcPct val="110000"/>
              </a:lnSpc>
              <a:spcBef>
                <a:spcPct val="0"/>
              </a:spcBef>
              <a:buSzPct val="80000"/>
              <a:defRPr/>
            </a:pPr>
            <a:r>
              <a:rPr sz="1600"/>
              <a:t>Ce </a:t>
            </a:r>
            <a:r>
              <a:rPr sz="1600" err="1"/>
              <a:t>dont</a:t>
            </a:r>
            <a:r>
              <a:rPr sz="1600"/>
              <a:t> </a:t>
            </a:r>
            <a:r>
              <a:rPr sz="1600" err="1"/>
              <a:t>vous</a:t>
            </a:r>
            <a:r>
              <a:rPr sz="1600"/>
              <a:t> </a:t>
            </a:r>
            <a:r>
              <a:rPr sz="1600" err="1"/>
              <a:t>souhaitez</a:t>
            </a:r>
            <a:r>
              <a:rPr sz="1600"/>
              <a:t> </a:t>
            </a:r>
            <a:r>
              <a:rPr sz="1600" err="1"/>
              <a:t>discuter</a:t>
            </a:r>
            <a:r>
              <a:rPr sz="1600"/>
              <a:t> </a:t>
            </a:r>
            <a:br>
              <a:rPr lang="en-US" sz="1700"/>
            </a:br>
            <a:endParaRPr lang="en-US" sz="1700"/>
          </a:p>
          <a:p>
            <a:pPr marL="342891" indent="-342891">
              <a:spcBef>
                <a:spcPct val="0"/>
              </a:spcBef>
              <a:buSzPct val="80000"/>
              <a:defRPr/>
            </a:pPr>
            <a:r>
              <a:rPr sz="1800" err="1"/>
              <a:t>Vous</a:t>
            </a:r>
            <a:r>
              <a:rPr sz="1800"/>
              <a:t> </a:t>
            </a:r>
            <a:r>
              <a:rPr sz="1800" err="1"/>
              <a:t>recevrez</a:t>
            </a:r>
            <a:r>
              <a:rPr sz="1800"/>
              <a:t> dans un </a:t>
            </a:r>
            <a:r>
              <a:rPr sz="1800" err="1"/>
              <a:t>délai</a:t>
            </a:r>
            <a:r>
              <a:rPr sz="1800"/>
              <a:t> de 24 </a:t>
            </a:r>
            <a:r>
              <a:rPr sz="1800" err="1"/>
              <a:t>heures</a:t>
            </a:r>
            <a:r>
              <a:rPr sz="1800"/>
              <a:t> </a:t>
            </a:r>
            <a:r>
              <a:rPr sz="1800" err="1"/>
              <a:t>une</a:t>
            </a:r>
            <a:r>
              <a:rPr sz="1800"/>
              <a:t> </a:t>
            </a:r>
            <a:r>
              <a:rPr sz="1800" err="1"/>
              <a:t>réponse</a:t>
            </a:r>
            <a:r>
              <a:rPr sz="1800"/>
              <a:t> </a:t>
            </a:r>
            <a:r>
              <a:rPr sz="1800" err="1"/>
              <a:t>contenant</a:t>
            </a:r>
            <a:r>
              <a:rPr sz="1800"/>
              <a:t> </a:t>
            </a:r>
            <a:r>
              <a:rPr sz="1800" err="1"/>
              <a:t>une</a:t>
            </a:r>
            <a:r>
              <a:rPr sz="1800"/>
              <a:t> </a:t>
            </a:r>
            <a:r>
              <a:rPr sz="1800" err="1"/>
              <a:t>heure</a:t>
            </a:r>
            <a:r>
              <a:rPr sz="1800"/>
              <a:t> de </a:t>
            </a:r>
            <a:r>
              <a:rPr sz="1800" err="1"/>
              <a:t>rendez-vous</a:t>
            </a:r>
            <a:r>
              <a:rPr sz="1800"/>
              <a:t>, </a:t>
            </a:r>
            <a:r>
              <a:rPr sz="1800" err="1"/>
              <a:t>en</a:t>
            </a:r>
            <a:r>
              <a:rPr sz="1800"/>
              <a:t> </a:t>
            </a:r>
            <a:r>
              <a:rPr sz="1800" err="1"/>
              <a:t>fonction</a:t>
            </a:r>
            <a:r>
              <a:rPr sz="1800"/>
              <a:t> de </a:t>
            </a:r>
            <a:r>
              <a:rPr sz="1800" err="1"/>
              <a:t>vos</a:t>
            </a:r>
            <a:r>
              <a:rPr sz="1800"/>
              <a:t> </a:t>
            </a:r>
            <a:r>
              <a:rPr sz="1800" err="1"/>
              <a:t>préférences</a:t>
            </a:r>
            <a:r>
              <a:rPr sz="1800"/>
              <a:t> et de la </a:t>
            </a:r>
            <a:r>
              <a:rPr sz="1800" err="1"/>
              <a:t>disponibilité</a:t>
            </a:r>
            <a:r>
              <a:rPr sz="1800"/>
              <a:t> des </a:t>
            </a:r>
            <a:r>
              <a:rPr sz="1800" err="1"/>
              <a:t>conseillers</a:t>
            </a:r>
            <a:r>
              <a:rPr sz="1800"/>
              <a:t> </a:t>
            </a:r>
            <a:r>
              <a:rPr sz="1800" err="1"/>
              <a:t>psychologues</a:t>
            </a:r>
            <a:r>
              <a:rPr sz="1800"/>
              <a:t>.</a:t>
            </a:r>
            <a:br>
              <a:rPr lang="en-US" sz="1800"/>
            </a:br>
            <a:endParaRPr lang="en-US" sz="1800"/>
          </a:p>
          <a:p>
            <a:pPr marL="342891" indent="-342891">
              <a:spcBef>
                <a:spcPct val="0"/>
              </a:spcBef>
              <a:spcAft>
                <a:spcPts val="600"/>
              </a:spcAft>
              <a:buSzPct val="80000"/>
              <a:defRPr/>
            </a:pPr>
            <a:r>
              <a:rPr sz="1800"/>
              <a:t>Une </a:t>
            </a:r>
            <a:r>
              <a:rPr sz="1800" err="1"/>
              <a:t>fois</a:t>
            </a:r>
            <a:r>
              <a:rPr sz="1800"/>
              <a:t> le </a:t>
            </a:r>
            <a:r>
              <a:rPr sz="1800" err="1"/>
              <a:t>créneau</a:t>
            </a:r>
            <a:r>
              <a:rPr sz="1800"/>
              <a:t> </a:t>
            </a:r>
            <a:r>
              <a:rPr sz="1800" err="1"/>
              <a:t>horaire</a:t>
            </a:r>
            <a:r>
              <a:rPr sz="1800"/>
              <a:t> </a:t>
            </a:r>
            <a:r>
              <a:rPr sz="1800" err="1"/>
              <a:t>déterminé</a:t>
            </a:r>
            <a:r>
              <a:rPr sz="1800"/>
              <a:t>, </a:t>
            </a:r>
            <a:r>
              <a:rPr sz="1800" err="1"/>
              <a:t>l’heure</a:t>
            </a:r>
            <a:r>
              <a:rPr sz="1800"/>
              <a:t> et le mode de contact (Skype, WhatsApp, </a:t>
            </a:r>
            <a:r>
              <a:rPr sz="1800" err="1"/>
              <a:t>téléphone</a:t>
            </a:r>
            <a:r>
              <a:rPr sz="1800"/>
              <a:t> </a:t>
            </a:r>
            <a:r>
              <a:rPr sz="1800" err="1"/>
              <a:t>ou</a:t>
            </a:r>
            <a:r>
              <a:rPr sz="1800"/>
              <a:t> </a:t>
            </a:r>
            <a:r>
              <a:rPr sz="1800" err="1"/>
              <a:t>en</a:t>
            </a:r>
            <a:r>
              <a:rPr sz="1800"/>
              <a:t> </a:t>
            </a:r>
            <a:r>
              <a:rPr sz="1800" err="1"/>
              <a:t>personne</a:t>
            </a:r>
            <a:r>
              <a:rPr sz="1800"/>
              <a:t>) </a:t>
            </a:r>
            <a:r>
              <a:rPr sz="1800" err="1"/>
              <a:t>vous</a:t>
            </a:r>
            <a:r>
              <a:rPr sz="1800"/>
              <a:t> </a:t>
            </a:r>
            <a:r>
              <a:rPr sz="1800" err="1"/>
              <a:t>seront</a:t>
            </a:r>
            <a:r>
              <a:rPr sz="1800"/>
              <a:t> </a:t>
            </a:r>
            <a:r>
              <a:rPr sz="1800" err="1"/>
              <a:t>confirmés</a:t>
            </a:r>
            <a:r>
              <a:rPr sz="1800"/>
              <a:t> par e</a:t>
            </a:r>
            <a:r>
              <a:rPr lang="en-GB" sz="1800"/>
              <a:t>‑</a:t>
            </a:r>
            <a:r>
              <a:rPr sz="1800"/>
              <a:t>mail.</a:t>
            </a:r>
            <a:endParaRPr lang="en-US" sz="1800"/>
          </a:p>
          <a:p>
            <a:endParaRPr lang="en-US"/>
          </a:p>
        </p:txBody>
      </p:sp>
    </p:spTree>
    <p:extLst>
      <p:ext uri="{BB962C8B-B14F-4D97-AF65-F5344CB8AC3E}">
        <p14:creationId xmlns:p14="http://schemas.microsoft.com/office/powerpoint/2010/main" val="2141554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72596-12B1-ED4F-8C64-D793828A89D8}"/>
              </a:ext>
            </a:extLst>
          </p:cNvPr>
          <p:cNvSpPr>
            <a:spLocks noGrp="1"/>
          </p:cNvSpPr>
          <p:nvPr>
            <p:ph type="title"/>
          </p:nvPr>
        </p:nvSpPr>
        <p:spPr/>
        <p:txBody>
          <a:bodyPr/>
          <a:lstStyle/>
          <a:p>
            <a:r>
              <a:rPr sz="2400" err="1"/>
              <a:t>Confidentialité</a:t>
            </a:r>
            <a:r>
              <a:rPr sz="2400"/>
              <a:t> </a:t>
            </a:r>
            <a:r>
              <a:rPr sz="2400" err="1"/>
              <a:t>garantie</a:t>
            </a:r>
            <a:endParaRPr sz="2400"/>
          </a:p>
        </p:txBody>
      </p:sp>
      <p:sp>
        <p:nvSpPr>
          <p:cNvPr id="3" name="Text Placeholder 2">
            <a:extLst>
              <a:ext uri="{FF2B5EF4-FFF2-40B4-BE49-F238E27FC236}">
                <a16:creationId xmlns:a16="http://schemas.microsoft.com/office/drawing/2014/main" id="{CF1B1805-2954-F94E-8351-98D8E6D73A12}"/>
              </a:ext>
            </a:extLst>
          </p:cNvPr>
          <p:cNvSpPr>
            <a:spLocks noGrp="1"/>
          </p:cNvSpPr>
          <p:nvPr>
            <p:ph type="body" sz="quarter" idx="10"/>
          </p:nvPr>
        </p:nvSpPr>
        <p:spPr>
          <a:xfrm>
            <a:off x="461963" y="1146175"/>
            <a:ext cx="8239125" cy="4811280"/>
          </a:xfrm>
        </p:spPr>
        <p:txBody>
          <a:bodyPr/>
          <a:lstStyle/>
          <a:p>
            <a:pPr marL="342891" lvl="0" indent="-342891">
              <a:lnSpc>
                <a:spcPct val="100000"/>
              </a:lnSpc>
              <a:spcAft>
                <a:spcPts val="1200"/>
              </a:spcAft>
              <a:buSzPct val="80000"/>
              <a:defRPr/>
            </a:pPr>
            <a:r>
              <a:rPr sz="2400">
                <a:cs typeface="Aharoni" panose="02010803020104030203" pitchFamily="2" charset="-79"/>
              </a:rPr>
              <a:t>La </a:t>
            </a:r>
            <a:r>
              <a:rPr sz="2400" err="1">
                <a:cs typeface="Aharoni" panose="02010803020104030203" pitchFamily="2" charset="-79"/>
              </a:rPr>
              <a:t>confidentialité</a:t>
            </a:r>
            <a:r>
              <a:rPr sz="2400">
                <a:cs typeface="Aharoni" panose="02010803020104030203" pitchFamily="2" charset="-79"/>
              </a:rPr>
              <a:t> </a:t>
            </a:r>
            <a:r>
              <a:rPr sz="2400" err="1">
                <a:cs typeface="Aharoni" panose="02010803020104030203" pitchFamily="2" charset="-79"/>
              </a:rPr>
              <a:t>est</a:t>
            </a:r>
            <a:r>
              <a:rPr sz="2400">
                <a:cs typeface="Aharoni" panose="02010803020104030203" pitchFamily="2" charset="-79"/>
              </a:rPr>
              <a:t> le </a:t>
            </a:r>
            <a:r>
              <a:rPr sz="2400" err="1">
                <a:cs typeface="Aharoni" panose="02010803020104030203" pitchFamily="2" charset="-79"/>
              </a:rPr>
              <a:t>pilier</a:t>
            </a:r>
            <a:r>
              <a:rPr sz="2400">
                <a:cs typeface="Aharoni" panose="02010803020104030203" pitchFamily="2" charset="-79"/>
              </a:rPr>
              <a:t> de </a:t>
            </a:r>
            <a:r>
              <a:rPr sz="2400" err="1">
                <a:cs typeface="Aharoni" panose="02010803020104030203" pitchFamily="2" charset="-79"/>
              </a:rPr>
              <a:t>l’EARP</a:t>
            </a:r>
            <a:endParaRPr sz="2400">
              <a:cs typeface="Aharoni" panose="02010803020104030203" pitchFamily="2" charset="-79"/>
            </a:endParaRPr>
          </a:p>
          <a:p>
            <a:pPr marL="342891" lvl="0" indent="-342891">
              <a:lnSpc>
                <a:spcPct val="100000"/>
              </a:lnSpc>
              <a:spcAft>
                <a:spcPts val="1200"/>
              </a:spcAft>
              <a:buSzPct val="80000"/>
              <a:defRPr/>
            </a:pPr>
            <a:r>
              <a:rPr sz="2400" err="1">
                <a:cs typeface="Aharoni" panose="02010803020104030203" pitchFamily="2" charset="-79"/>
              </a:rPr>
              <a:t>Tous</a:t>
            </a:r>
            <a:r>
              <a:rPr sz="2400">
                <a:cs typeface="Aharoni" panose="02010803020104030203" pitchFamily="2" charset="-79"/>
              </a:rPr>
              <a:t> les </a:t>
            </a:r>
            <a:r>
              <a:rPr sz="2400" err="1">
                <a:cs typeface="Aharoni" panose="02010803020104030203" pitchFamily="2" charset="-79"/>
              </a:rPr>
              <a:t>conseillers</a:t>
            </a:r>
            <a:r>
              <a:rPr sz="2400">
                <a:cs typeface="Aharoni" panose="02010803020104030203" pitchFamily="2" charset="-79"/>
              </a:rPr>
              <a:t> </a:t>
            </a:r>
            <a:r>
              <a:rPr sz="2400" err="1">
                <a:cs typeface="Aharoni" panose="02010803020104030203" pitchFamily="2" charset="-79"/>
              </a:rPr>
              <a:t>psychologues</a:t>
            </a:r>
            <a:r>
              <a:rPr sz="2400">
                <a:cs typeface="Aharoni" panose="02010803020104030203" pitchFamily="2" charset="-79"/>
              </a:rPr>
              <a:t> </a:t>
            </a:r>
            <a:r>
              <a:rPr sz="2400" err="1">
                <a:cs typeface="Aharoni" panose="02010803020104030203" pitchFamily="2" charset="-79"/>
              </a:rPr>
              <a:t>signent</a:t>
            </a:r>
            <a:r>
              <a:rPr sz="2400">
                <a:cs typeface="Aharoni" panose="02010803020104030203" pitchFamily="2" charset="-79"/>
              </a:rPr>
              <a:t> des accords de </a:t>
            </a:r>
            <a:r>
              <a:rPr sz="2400" err="1">
                <a:cs typeface="Aharoni" panose="02010803020104030203" pitchFamily="2" charset="-79"/>
              </a:rPr>
              <a:t>confidentialité</a:t>
            </a:r>
            <a:endParaRPr sz="2400">
              <a:cs typeface="Aharoni" panose="02010803020104030203" pitchFamily="2" charset="-79"/>
            </a:endParaRPr>
          </a:p>
          <a:p>
            <a:pPr marL="342891" lvl="0" indent="-342891">
              <a:lnSpc>
                <a:spcPct val="100000"/>
              </a:lnSpc>
              <a:spcAft>
                <a:spcPts val="1200"/>
              </a:spcAft>
              <a:buSzPct val="80000"/>
              <a:defRPr/>
            </a:pPr>
            <a:r>
              <a:rPr sz="2400" err="1">
                <a:cs typeface="Aharoni" panose="02010803020104030203" pitchFamily="2" charset="-79"/>
              </a:rPr>
              <a:t>Votre</a:t>
            </a:r>
            <a:r>
              <a:rPr sz="2400">
                <a:cs typeface="Aharoni" panose="02010803020104030203" pitchFamily="2" charset="-79"/>
              </a:rPr>
              <a:t> </a:t>
            </a:r>
            <a:r>
              <a:rPr sz="2400" err="1">
                <a:cs typeface="Aharoni" panose="02010803020104030203" pitchFamily="2" charset="-79"/>
              </a:rPr>
              <a:t>conseil</a:t>
            </a:r>
            <a:r>
              <a:rPr sz="2400">
                <a:cs typeface="Aharoni" panose="02010803020104030203" pitchFamily="2" charset="-79"/>
              </a:rPr>
              <a:t> </a:t>
            </a:r>
            <a:r>
              <a:rPr sz="2400" err="1">
                <a:cs typeface="Aharoni" panose="02010803020104030203" pitchFamily="2" charset="-79"/>
              </a:rPr>
              <a:t>psychologique</a:t>
            </a:r>
            <a:r>
              <a:rPr sz="2400">
                <a:cs typeface="Aharoni" panose="02010803020104030203" pitchFamily="2" charset="-79"/>
              </a:rPr>
              <a:t> EARP </a:t>
            </a:r>
            <a:r>
              <a:rPr sz="2400" err="1">
                <a:cs typeface="Aharoni" panose="02010803020104030203" pitchFamily="2" charset="-79"/>
              </a:rPr>
              <a:t>est</a:t>
            </a:r>
            <a:r>
              <a:rPr sz="2400">
                <a:cs typeface="Aharoni" panose="02010803020104030203" pitchFamily="2" charset="-79"/>
              </a:rPr>
              <a:t> </a:t>
            </a:r>
            <a:r>
              <a:rPr sz="2400" err="1">
                <a:cs typeface="Aharoni" panose="02010803020104030203" pitchFamily="2" charset="-79"/>
              </a:rPr>
              <a:t>fourni</a:t>
            </a:r>
            <a:r>
              <a:rPr sz="2400">
                <a:cs typeface="Aharoni" panose="02010803020104030203" pitchFamily="2" charset="-79"/>
              </a:rPr>
              <a:t> de manière </a:t>
            </a:r>
            <a:r>
              <a:rPr sz="2400" err="1">
                <a:cs typeface="Aharoni" panose="02010803020104030203" pitchFamily="2" charset="-79"/>
              </a:rPr>
              <a:t>totalement</a:t>
            </a:r>
            <a:r>
              <a:rPr sz="2400">
                <a:cs typeface="Aharoni" panose="02010803020104030203" pitchFamily="2" charset="-79"/>
              </a:rPr>
              <a:t> </a:t>
            </a:r>
            <a:r>
              <a:rPr sz="2400" err="1">
                <a:cs typeface="Aharoni" panose="02010803020104030203" pitchFamily="2" charset="-79"/>
              </a:rPr>
              <a:t>indépendante</a:t>
            </a:r>
            <a:r>
              <a:rPr sz="2400">
                <a:cs typeface="Aharoni" panose="02010803020104030203" pitchFamily="2" charset="-79"/>
              </a:rPr>
              <a:t> et </a:t>
            </a:r>
            <a:r>
              <a:rPr sz="2400" err="1">
                <a:cs typeface="Aharoni" panose="02010803020104030203" pitchFamily="2" charset="-79"/>
              </a:rPr>
              <a:t>est</a:t>
            </a:r>
            <a:r>
              <a:rPr sz="2400">
                <a:cs typeface="Aharoni" panose="02010803020104030203" pitchFamily="2" charset="-79"/>
              </a:rPr>
              <a:t> </a:t>
            </a:r>
            <a:r>
              <a:rPr sz="2400" err="1">
                <a:cs typeface="Aharoni" panose="02010803020104030203" pitchFamily="2" charset="-79"/>
              </a:rPr>
              <a:t>externe</a:t>
            </a:r>
            <a:r>
              <a:rPr sz="2400">
                <a:cs typeface="Aharoni" panose="02010803020104030203" pitchFamily="2" charset="-79"/>
              </a:rPr>
              <a:t> </a:t>
            </a:r>
            <a:r>
              <a:rPr sz="2400" err="1">
                <a:cs typeface="Aharoni" panose="02010803020104030203" pitchFamily="2" charset="-79"/>
              </a:rPr>
              <a:t>à</a:t>
            </a:r>
            <a:r>
              <a:rPr sz="2400">
                <a:cs typeface="Aharoni" panose="02010803020104030203" pitchFamily="2" charset="-79"/>
              </a:rPr>
              <a:t> </a:t>
            </a:r>
            <a:r>
              <a:rPr sz="2400" err="1">
                <a:cs typeface="Aharoni" panose="02010803020104030203" pitchFamily="2" charset="-79"/>
              </a:rPr>
              <a:t>l'IRC</a:t>
            </a:r>
            <a:endParaRPr lang="en-US" altLang="ja-JP" sz="2400">
              <a:cs typeface="Aharoni" panose="02010803020104030203" pitchFamily="2" charset="-79"/>
            </a:endParaRPr>
          </a:p>
          <a:p>
            <a:pPr marL="342891" lvl="0" indent="-342891">
              <a:lnSpc>
                <a:spcPct val="100000"/>
              </a:lnSpc>
              <a:spcAft>
                <a:spcPts val="1200"/>
              </a:spcAft>
              <a:buSzPct val="80000"/>
              <a:defRPr/>
            </a:pPr>
            <a:r>
              <a:rPr sz="2400" err="1">
                <a:cs typeface="Aharoni" panose="02010803020104030203" pitchFamily="2" charset="-79"/>
              </a:rPr>
              <a:t>Aucune</a:t>
            </a:r>
            <a:r>
              <a:rPr sz="2400">
                <a:cs typeface="Aharoni" panose="02010803020104030203" pitchFamily="2" charset="-79"/>
              </a:rPr>
              <a:t> information nominative </a:t>
            </a:r>
            <a:r>
              <a:rPr sz="2400" err="1">
                <a:cs typeface="Aharoni" panose="02010803020104030203" pitchFamily="2" charset="-79"/>
              </a:rPr>
              <a:t>n’est</a:t>
            </a:r>
            <a:r>
              <a:rPr sz="2400">
                <a:cs typeface="Aharoni" panose="02010803020104030203" pitchFamily="2" charset="-79"/>
              </a:rPr>
              <a:t> </a:t>
            </a:r>
            <a:r>
              <a:rPr sz="2400" err="1">
                <a:cs typeface="Aharoni" panose="02010803020104030203" pitchFamily="2" charset="-79"/>
              </a:rPr>
              <a:t>fournie</a:t>
            </a:r>
            <a:r>
              <a:rPr sz="2400">
                <a:cs typeface="Aharoni" panose="02010803020104030203" pitchFamily="2" charset="-79"/>
              </a:rPr>
              <a:t> </a:t>
            </a:r>
            <a:r>
              <a:rPr sz="2400" err="1">
                <a:cs typeface="Aharoni" panose="02010803020104030203" pitchFamily="2" charset="-79"/>
              </a:rPr>
              <a:t>à</a:t>
            </a:r>
            <a:r>
              <a:rPr sz="2400">
                <a:cs typeface="Aharoni" panose="02010803020104030203" pitchFamily="2" charset="-79"/>
              </a:rPr>
              <a:t> </a:t>
            </a:r>
            <a:r>
              <a:rPr sz="2400" err="1">
                <a:cs typeface="Aharoni" panose="02010803020104030203" pitchFamily="2" charset="-79"/>
              </a:rPr>
              <a:t>l'IRC</a:t>
            </a:r>
            <a:r>
              <a:rPr sz="2400">
                <a:cs typeface="Aharoni" panose="02010803020104030203" pitchFamily="2" charset="-79"/>
              </a:rPr>
              <a:t> </a:t>
            </a:r>
          </a:p>
          <a:p>
            <a:endParaRPr lang="en-US"/>
          </a:p>
        </p:txBody>
      </p:sp>
    </p:spTree>
    <p:extLst>
      <p:ext uri="{BB962C8B-B14F-4D97-AF65-F5344CB8AC3E}">
        <p14:creationId xmlns:p14="http://schemas.microsoft.com/office/powerpoint/2010/main" val="41900074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0CA4F-ADB5-6548-A285-7D99E901581D}"/>
              </a:ext>
            </a:extLst>
          </p:cNvPr>
          <p:cNvSpPr>
            <a:spLocks noGrp="1"/>
          </p:cNvSpPr>
          <p:nvPr>
            <p:ph type="title"/>
          </p:nvPr>
        </p:nvSpPr>
        <p:spPr/>
        <p:txBody>
          <a:bodyPr/>
          <a:lstStyle/>
          <a:p>
            <a:r>
              <a:rPr sz="2400" err="1"/>
              <a:t>L’application</a:t>
            </a:r>
            <a:r>
              <a:rPr sz="2400"/>
              <a:t> </a:t>
            </a:r>
            <a:r>
              <a:rPr sz="2400" err="1"/>
              <a:t>KonTerra</a:t>
            </a:r>
            <a:r>
              <a:rPr sz="2400"/>
              <a:t> CONNECT</a:t>
            </a:r>
            <a:r>
              <a:rPr sz="2400" baseline="30000"/>
              <a:t>TM</a:t>
            </a:r>
          </a:p>
        </p:txBody>
      </p:sp>
      <p:sp>
        <p:nvSpPr>
          <p:cNvPr id="3" name="Text Placeholder 2">
            <a:extLst>
              <a:ext uri="{FF2B5EF4-FFF2-40B4-BE49-F238E27FC236}">
                <a16:creationId xmlns:a16="http://schemas.microsoft.com/office/drawing/2014/main" id="{F77EBC1A-32B6-834B-83B4-79CACB4498E9}"/>
              </a:ext>
            </a:extLst>
          </p:cNvPr>
          <p:cNvSpPr>
            <a:spLocks noGrp="1"/>
          </p:cNvSpPr>
          <p:nvPr>
            <p:ph type="body" sz="quarter" idx="10"/>
          </p:nvPr>
        </p:nvSpPr>
        <p:spPr>
          <a:xfrm>
            <a:off x="434254" y="1063047"/>
            <a:ext cx="8239125" cy="4797425"/>
          </a:xfrm>
        </p:spPr>
        <p:txBody>
          <a:bodyPr/>
          <a:lstStyle/>
          <a:p>
            <a:pPr marL="0" indent="0">
              <a:buNone/>
            </a:pPr>
            <a:r>
              <a:rPr sz="2000"/>
              <a:t>Le Groupe </a:t>
            </a:r>
            <a:r>
              <a:rPr sz="2000" err="1"/>
              <a:t>KonTerra</a:t>
            </a:r>
            <a:r>
              <a:rPr sz="2000"/>
              <a:t> dispose </a:t>
            </a:r>
            <a:r>
              <a:rPr sz="2000" err="1"/>
              <a:t>d'une</a:t>
            </a:r>
            <a:r>
              <a:rPr sz="2000"/>
              <a:t> application </a:t>
            </a:r>
            <a:r>
              <a:rPr sz="2000" b="1" i="1" err="1"/>
              <a:t>gratuite</a:t>
            </a:r>
            <a:r>
              <a:rPr sz="2000"/>
              <a:t> </a:t>
            </a:r>
            <a:r>
              <a:rPr sz="2000" err="1"/>
              <a:t>destinée</a:t>
            </a:r>
            <a:r>
              <a:rPr sz="2000"/>
              <a:t> aux </a:t>
            </a:r>
            <a:r>
              <a:rPr sz="2000" err="1"/>
              <a:t>utilisateurs</a:t>
            </a:r>
            <a:r>
              <a:rPr sz="2000"/>
              <a:t> </a:t>
            </a:r>
            <a:r>
              <a:rPr sz="2000" err="1"/>
              <a:t>d’iOS</a:t>
            </a:r>
            <a:r>
              <a:rPr sz="2000"/>
              <a:t> et </a:t>
            </a:r>
            <a:r>
              <a:rPr sz="2000" err="1"/>
              <a:t>d’Android</a:t>
            </a:r>
            <a:r>
              <a:rPr sz="2000"/>
              <a:t> !</a:t>
            </a:r>
          </a:p>
          <a:p>
            <a:pPr marL="342900" lvl="0" indent="-342900">
              <a:buFont typeface="+mj-lt"/>
              <a:buAutoNum type="arabicParenR"/>
            </a:pPr>
            <a:r>
              <a:rPr sz="2000" b="1"/>
              <a:t>Apprendre</a:t>
            </a:r>
            <a:r>
              <a:rPr lang="fr-FR" sz="2000" b="1"/>
              <a:t> </a:t>
            </a:r>
            <a:r>
              <a:rPr sz="2000"/>
              <a:t>– </a:t>
            </a:r>
            <a:r>
              <a:rPr sz="2000" err="1"/>
              <a:t>Contenu</a:t>
            </a:r>
            <a:r>
              <a:rPr sz="2000"/>
              <a:t> </a:t>
            </a:r>
            <a:r>
              <a:rPr sz="2000" err="1"/>
              <a:t>éducatif</a:t>
            </a:r>
            <a:r>
              <a:rPr sz="2000"/>
              <a:t> </a:t>
            </a:r>
            <a:r>
              <a:rPr sz="2000" err="1"/>
              <a:t>spécialisé</a:t>
            </a:r>
            <a:r>
              <a:rPr sz="2000"/>
              <a:t> pour </a:t>
            </a:r>
            <a:r>
              <a:rPr sz="2000" err="1"/>
              <a:t>soutenir</a:t>
            </a:r>
            <a:r>
              <a:rPr sz="2000"/>
              <a:t> la </a:t>
            </a:r>
            <a:r>
              <a:rPr sz="2000" err="1"/>
              <a:t>résilience</a:t>
            </a:r>
            <a:endParaRPr sz="2000"/>
          </a:p>
          <a:p>
            <a:pPr marL="342900" lvl="0" indent="-342900">
              <a:buFont typeface="+mj-lt"/>
              <a:buAutoNum type="arabicParenR"/>
            </a:pPr>
            <a:r>
              <a:rPr sz="2000" b="1" err="1"/>
              <a:t>Évaluer</a:t>
            </a:r>
            <a:r>
              <a:rPr sz="2000" b="1"/>
              <a:t> </a:t>
            </a:r>
            <a:r>
              <a:rPr sz="2000"/>
              <a:t>– </a:t>
            </a:r>
            <a:r>
              <a:rPr sz="2000" err="1"/>
              <a:t>Outil</a:t>
            </a:r>
            <a:r>
              <a:rPr sz="2000"/>
              <a:t> </a:t>
            </a:r>
            <a:r>
              <a:rPr sz="2000" err="1"/>
              <a:t>d’auto-évaluation</a:t>
            </a:r>
            <a:r>
              <a:rPr sz="2000"/>
              <a:t> </a:t>
            </a:r>
            <a:r>
              <a:rPr sz="2000" err="1"/>
              <a:t>permettant</a:t>
            </a:r>
            <a:r>
              <a:rPr sz="2000"/>
              <a:t> aux </a:t>
            </a:r>
            <a:r>
              <a:rPr sz="2000" err="1"/>
              <a:t>individus</a:t>
            </a:r>
            <a:r>
              <a:rPr sz="2000"/>
              <a:t> de </a:t>
            </a:r>
            <a:r>
              <a:rPr sz="2000" err="1"/>
              <a:t>mesurer</a:t>
            </a:r>
            <a:r>
              <a:rPr sz="2000"/>
              <a:t> </a:t>
            </a:r>
            <a:r>
              <a:rPr sz="2000" err="1"/>
              <a:t>leur</a:t>
            </a:r>
            <a:r>
              <a:rPr sz="2000"/>
              <a:t> </a:t>
            </a:r>
            <a:r>
              <a:rPr sz="2000" err="1"/>
              <a:t>résilience</a:t>
            </a:r>
            <a:r>
              <a:rPr sz="2000"/>
              <a:t> </a:t>
            </a:r>
            <a:r>
              <a:rPr sz="2000" err="1"/>
              <a:t>personnelle</a:t>
            </a:r>
            <a:endParaRPr sz="2000"/>
          </a:p>
          <a:p>
            <a:pPr marL="342900" lvl="0" indent="-342900">
              <a:buFont typeface="+mj-lt"/>
              <a:buAutoNum type="arabicParenR"/>
            </a:pPr>
            <a:r>
              <a:rPr sz="2000" b="1"/>
              <a:t>Connecter</a:t>
            </a:r>
            <a:r>
              <a:rPr lang="fr-FR" sz="2000" b="1"/>
              <a:t> </a:t>
            </a:r>
            <a:r>
              <a:rPr sz="2000"/>
              <a:t>– </a:t>
            </a:r>
            <a:r>
              <a:rPr sz="2000" err="1"/>
              <a:t>Permet</a:t>
            </a:r>
            <a:r>
              <a:rPr sz="2000"/>
              <a:t> aux </a:t>
            </a:r>
            <a:r>
              <a:rPr sz="2000" err="1"/>
              <a:t>employés</a:t>
            </a:r>
            <a:r>
              <a:rPr sz="2000"/>
              <a:t> de </a:t>
            </a:r>
            <a:r>
              <a:rPr sz="2000" err="1"/>
              <a:t>soumettre</a:t>
            </a:r>
            <a:r>
              <a:rPr sz="2000"/>
              <a:t> </a:t>
            </a:r>
            <a:r>
              <a:rPr sz="2000" err="1"/>
              <a:t>facilement</a:t>
            </a:r>
            <a:r>
              <a:rPr sz="2000"/>
              <a:t> </a:t>
            </a:r>
            <a:r>
              <a:rPr sz="2000" err="1"/>
              <a:t>une</a:t>
            </a:r>
            <a:r>
              <a:rPr sz="2000"/>
              <a:t> </a:t>
            </a:r>
            <a:r>
              <a:rPr sz="2000" err="1"/>
              <a:t>demande</a:t>
            </a:r>
            <a:r>
              <a:rPr sz="2000"/>
              <a:t> de </a:t>
            </a:r>
            <a:r>
              <a:rPr sz="2000" err="1"/>
              <a:t>conseil</a:t>
            </a:r>
            <a:r>
              <a:rPr sz="2000"/>
              <a:t> </a:t>
            </a:r>
            <a:r>
              <a:rPr sz="2000" err="1"/>
              <a:t>psychologique</a:t>
            </a:r>
            <a:r>
              <a:rPr sz="2000"/>
              <a:t> </a:t>
            </a:r>
            <a:r>
              <a:rPr sz="2000" err="1"/>
              <a:t>auprès</a:t>
            </a:r>
            <a:r>
              <a:rPr sz="2000"/>
              <a:t> d'un </a:t>
            </a:r>
            <a:r>
              <a:rPr sz="2000" err="1"/>
              <a:t>conseiller</a:t>
            </a:r>
            <a:r>
              <a:rPr sz="2000"/>
              <a:t> </a:t>
            </a:r>
            <a:r>
              <a:rPr sz="2000" err="1"/>
              <a:t>psychologue</a:t>
            </a:r>
            <a:r>
              <a:rPr sz="2000"/>
              <a:t> </a:t>
            </a:r>
            <a:r>
              <a:rPr sz="2000" err="1"/>
              <a:t>KonTerra</a:t>
            </a:r>
            <a:endParaRPr sz="2000"/>
          </a:p>
          <a:p>
            <a:endParaRPr lang="en-US" sz="2000" b="1">
              <a:solidFill>
                <a:srgbClr val="44546A"/>
              </a:solidFill>
            </a:endParaRPr>
          </a:p>
          <a:p>
            <a:endParaRPr lang="en-US" sz="2000"/>
          </a:p>
        </p:txBody>
      </p:sp>
      <p:pic>
        <p:nvPicPr>
          <p:cNvPr id="4" name="Picture 3">
            <a:extLst>
              <a:ext uri="{FF2B5EF4-FFF2-40B4-BE49-F238E27FC236}">
                <a16:creationId xmlns:a16="http://schemas.microsoft.com/office/drawing/2014/main" id="{BA558BAF-6433-4440-BB95-2AFB654B5D0F}"/>
              </a:ext>
            </a:extLst>
          </p:cNvPr>
          <p:cNvPicPr>
            <a:picLocks noChangeAspect="1"/>
          </p:cNvPicPr>
          <p:nvPr/>
        </p:nvPicPr>
        <p:blipFill>
          <a:blip r:embed="rId2"/>
          <a:stretch>
            <a:fillRect/>
          </a:stretch>
        </p:blipFill>
        <p:spPr>
          <a:xfrm>
            <a:off x="2499005" y="4264431"/>
            <a:ext cx="5143522" cy="2576745"/>
          </a:xfrm>
          <a:prstGeom prst="rect">
            <a:avLst/>
          </a:prstGeom>
        </p:spPr>
      </p:pic>
    </p:spTree>
    <p:extLst>
      <p:ext uri="{BB962C8B-B14F-4D97-AF65-F5344CB8AC3E}">
        <p14:creationId xmlns:p14="http://schemas.microsoft.com/office/powerpoint/2010/main" val="4727681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EBF4E-A824-D74E-AA8F-D54BBEDD0AA1}"/>
              </a:ext>
            </a:extLst>
          </p:cNvPr>
          <p:cNvSpPr>
            <a:spLocks noGrp="1"/>
          </p:cNvSpPr>
          <p:nvPr>
            <p:ph type="title"/>
          </p:nvPr>
        </p:nvSpPr>
        <p:spPr/>
        <p:txBody>
          <a:bodyPr/>
          <a:lstStyle/>
          <a:p>
            <a:r>
              <a:rPr sz="2400" err="1"/>
              <a:t>Bref</a:t>
            </a:r>
            <a:r>
              <a:rPr sz="2400"/>
              <a:t> </a:t>
            </a:r>
            <a:r>
              <a:rPr sz="2400" err="1"/>
              <a:t>exercice</a:t>
            </a:r>
            <a:r>
              <a:rPr sz="2400"/>
              <a:t> de </a:t>
            </a:r>
            <a:r>
              <a:rPr sz="2400" err="1"/>
              <a:t>réflexion</a:t>
            </a:r>
            <a:endParaRPr sz="2400"/>
          </a:p>
        </p:txBody>
      </p:sp>
      <p:sp>
        <p:nvSpPr>
          <p:cNvPr id="3" name="Text Placeholder 2">
            <a:extLst>
              <a:ext uri="{FF2B5EF4-FFF2-40B4-BE49-F238E27FC236}">
                <a16:creationId xmlns:a16="http://schemas.microsoft.com/office/drawing/2014/main" id="{C1F74ACC-8D7A-D746-A130-D7580E8488A3}"/>
              </a:ext>
            </a:extLst>
          </p:cNvPr>
          <p:cNvSpPr>
            <a:spLocks noGrp="1"/>
          </p:cNvSpPr>
          <p:nvPr>
            <p:ph type="body" sz="quarter" idx="10"/>
          </p:nvPr>
        </p:nvSpPr>
        <p:spPr>
          <a:xfrm>
            <a:off x="461963" y="1146175"/>
            <a:ext cx="8239125" cy="4474040"/>
          </a:xfrm>
        </p:spPr>
        <p:txBody>
          <a:bodyPr/>
          <a:lstStyle/>
          <a:p>
            <a:pPr marL="514350" indent="-514350">
              <a:buFont typeface="+mj-lt"/>
              <a:buAutoNum type="arabicPeriod"/>
            </a:pPr>
            <a:r>
              <a:rPr sz="2000"/>
              <a:t>Si </a:t>
            </a:r>
            <a:r>
              <a:rPr sz="2000" err="1"/>
              <a:t>vous</a:t>
            </a:r>
            <a:r>
              <a:rPr sz="2000"/>
              <a:t> </a:t>
            </a:r>
            <a:r>
              <a:rPr sz="2000" err="1"/>
              <a:t>vous</a:t>
            </a:r>
            <a:r>
              <a:rPr sz="2000"/>
              <a:t> </a:t>
            </a:r>
            <a:r>
              <a:rPr sz="2000" err="1"/>
              <a:t>apprêtiez</a:t>
            </a:r>
            <a:r>
              <a:rPr sz="2000"/>
              <a:t> </a:t>
            </a:r>
            <a:r>
              <a:rPr sz="2000" err="1"/>
              <a:t>à</a:t>
            </a:r>
            <a:r>
              <a:rPr sz="2000"/>
              <a:t> </a:t>
            </a:r>
            <a:r>
              <a:rPr sz="2000" err="1"/>
              <a:t>solliciter</a:t>
            </a:r>
            <a:r>
              <a:rPr sz="2000"/>
              <a:t> </a:t>
            </a:r>
            <a:r>
              <a:rPr sz="2000" err="1"/>
              <a:t>l’aide</a:t>
            </a:r>
            <a:r>
              <a:rPr sz="2000"/>
              <a:t> d'un </a:t>
            </a:r>
            <a:r>
              <a:rPr sz="2000" err="1"/>
              <a:t>conseiller</a:t>
            </a:r>
            <a:r>
              <a:rPr sz="2000"/>
              <a:t> </a:t>
            </a:r>
            <a:r>
              <a:rPr sz="2000" err="1"/>
              <a:t>psychologue</a:t>
            </a:r>
            <a:r>
              <a:rPr sz="2000"/>
              <a:t>, </a:t>
            </a:r>
            <a:r>
              <a:rPr sz="2000" err="1"/>
              <a:t>quelles</a:t>
            </a:r>
            <a:r>
              <a:rPr sz="2000"/>
              <a:t> </a:t>
            </a:r>
            <a:r>
              <a:rPr sz="2000" err="1"/>
              <a:t>sont</a:t>
            </a:r>
            <a:r>
              <a:rPr sz="2000"/>
              <a:t> les deux choses qui se </a:t>
            </a:r>
            <a:r>
              <a:rPr sz="2000" err="1"/>
              <a:t>produisent</a:t>
            </a:r>
            <a:r>
              <a:rPr sz="2000"/>
              <a:t> </a:t>
            </a:r>
            <a:r>
              <a:rPr sz="2000" err="1"/>
              <a:t>en</a:t>
            </a:r>
            <a:r>
              <a:rPr sz="2000"/>
              <a:t> </a:t>
            </a:r>
            <a:r>
              <a:rPr sz="2000" err="1"/>
              <a:t>ce</a:t>
            </a:r>
            <a:r>
              <a:rPr sz="2000"/>
              <a:t> moment dans </a:t>
            </a:r>
            <a:r>
              <a:rPr sz="2000" err="1"/>
              <a:t>votre</a:t>
            </a:r>
            <a:r>
              <a:rPr sz="2000"/>
              <a:t> vie et </a:t>
            </a:r>
            <a:r>
              <a:rPr sz="2000" err="1"/>
              <a:t>dont</a:t>
            </a:r>
            <a:r>
              <a:rPr sz="2000"/>
              <a:t> </a:t>
            </a:r>
            <a:r>
              <a:rPr sz="2000" err="1"/>
              <a:t>vous</a:t>
            </a:r>
            <a:r>
              <a:rPr sz="2000"/>
              <a:t> </a:t>
            </a:r>
            <a:r>
              <a:rPr sz="2000" err="1"/>
              <a:t>souhaiteriez</a:t>
            </a:r>
            <a:r>
              <a:rPr sz="2000"/>
              <a:t> </a:t>
            </a:r>
            <a:r>
              <a:rPr sz="2000" err="1"/>
              <a:t>parler</a:t>
            </a:r>
            <a:r>
              <a:rPr sz="2000"/>
              <a:t> ?</a:t>
            </a:r>
          </a:p>
          <a:p>
            <a:pPr lvl="1"/>
            <a:r>
              <a:rPr sz="1800" err="1"/>
              <a:t>Quel</a:t>
            </a:r>
            <a:r>
              <a:rPr sz="1800"/>
              <a:t> genre de </a:t>
            </a:r>
            <a:r>
              <a:rPr sz="1800" err="1"/>
              <a:t>bénéfice</a:t>
            </a:r>
            <a:r>
              <a:rPr sz="1800"/>
              <a:t> </a:t>
            </a:r>
            <a:r>
              <a:rPr sz="1800" err="1"/>
              <a:t>espérez-vous</a:t>
            </a:r>
            <a:r>
              <a:rPr sz="1800"/>
              <a:t> </a:t>
            </a:r>
            <a:r>
              <a:rPr sz="1800" err="1"/>
              <a:t>retirer</a:t>
            </a:r>
            <a:r>
              <a:rPr sz="1800"/>
              <a:t> de </a:t>
            </a:r>
            <a:r>
              <a:rPr sz="1800" err="1"/>
              <a:t>l’aide</a:t>
            </a:r>
            <a:r>
              <a:rPr sz="1800"/>
              <a:t> d’un </a:t>
            </a:r>
            <a:r>
              <a:rPr sz="1800" err="1"/>
              <a:t>conseiller</a:t>
            </a:r>
            <a:r>
              <a:rPr sz="1800"/>
              <a:t> </a:t>
            </a:r>
            <a:r>
              <a:rPr sz="1800" err="1"/>
              <a:t>psychologue</a:t>
            </a:r>
            <a:r>
              <a:rPr sz="1800"/>
              <a:t> sur </a:t>
            </a:r>
            <a:r>
              <a:rPr sz="1800" err="1"/>
              <a:t>ces</a:t>
            </a:r>
            <a:r>
              <a:rPr sz="1800"/>
              <a:t> questions ?</a:t>
            </a:r>
          </a:p>
          <a:p>
            <a:pPr marL="514350" indent="-514350">
              <a:buFont typeface="+mj-lt"/>
              <a:buAutoNum type="arabicPeriod"/>
            </a:pPr>
            <a:r>
              <a:rPr sz="2000" err="1"/>
              <a:t>Qu'éprouvez-vous</a:t>
            </a:r>
            <a:r>
              <a:rPr sz="2000"/>
              <a:t> </a:t>
            </a:r>
            <a:r>
              <a:rPr sz="2000" err="1"/>
              <a:t>à</a:t>
            </a:r>
            <a:r>
              <a:rPr sz="2000"/>
              <a:t> </a:t>
            </a:r>
            <a:r>
              <a:rPr sz="2000" err="1"/>
              <a:t>l’idée</a:t>
            </a:r>
            <a:r>
              <a:rPr sz="2000"/>
              <a:t> de </a:t>
            </a:r>
            <a:r>
              <a:rPr sz="2000" err="1"/>
              <a:t>solliciter</a:t>
            </a:r>
            <a:r>
              <a:rPr sz="2000"/>
              <a:t> </a:t>
            </a:r>
            <a:r>
              <a:rPr sz="2000" err="1"/>
              <a:t>l’aide</a:t>
            </a:r>
            <a:r>
              <a:rPr sz="2000"/>
              <a:t> d’un </a:t>
            </a:r>
            <a:r>
              <a:rPr sz="2000" err="1"/>
              <a:t>conseiller</a:t>
            </a:r>
            <a:r>
              <a:rPr sz="2000"/>
              <a:t> </a:t>
            </a:r>
            <a:r>
              <a:rPr sz="2000" err="1"/>
              <a:t>psychologue</a:t>
            </a:r>
            <a:r>
              <a:rPr sz="2000"/>
              <a:t> ? </a:t>
            </a:r>
          </a:p>
          <a:p>
            <a:pPr lvl="1"/>
            <a:r>
              <a:rPr sz="1800"/>
              <a:t>Si </a:t>
            </a:r>
            <a:r>
              <a:rPr sz="1800" err="1"/>
              <a:t>vous</a:t>
            </a:r>
            <a:r>
              <a:rPr sz="1800"/>
              <a:t> </a:t>
            </a:r>
            <a:r>
              <a:rPr sz="1800" err="1"/>
              <a:t>êtes</a:t>
            </a:r>
            <a:r>
              <a:rPr sz="1800"/>
              <a:t> </a:t>
            </a:r>
            <a:r>
              <a:rPr sz="1800" err="1"/>
              <a:t>ouvert</a:t>
            </a:r>
            <a:r>
              <a:rPr sz="1800"/>
              <a:t> </a:t>
            </a:r>
            <a:r>
              <a:rPr sz="1800" err="1"/>
              <a:t>à</a:t>
            </a:r>
            <a:r>
              <a:rPr sz="1800"/>
              <a:t> </a:t>
            </a:r>
            <a:r>
              <a:rPr sz="1800" err="1"/>
              <a:t>l’idée</a:t>
            </a:r>
            <a:r>
              <a:rPr sz="1800"/>
              <a:t> de </a:t>
            </a:r>
            <a:r>
              <a:rPr sz="1800" err="1"/>
              <a:t>solliciter</a:t>
            </a:r>
            <a:r>
              <a:rPr sz="1800"/>
              <a:t> </a:t>
            </a:r>
            <a:r>
              <a:rPr sz="1800" err="1"/>
              <a:t>l’aide</a:t>
            </a:r>
            <a:r>
              <a:rPr sz="1800"/>
              <a:t> d’un </a:t>
            </a:r>
            <a:r>
              <a:rPr sz="1800" err="1"/>
              <a:t>conseiller</a:t>
            </a:r>
            <a:r>
              <a:rPr sz="1800"/>
              <a:t> </a:t>
            </a:r>
            <a:r>
              <a:rPr sz="1800" err="1"/>
              <a:t>psychologue</a:t>
            </a:r>
            <a:r>
              <a:rPr sz="1800"/>
              <a:t>, </a:t>
            </a:r>
            <a:r>
              <a:rPr sz="1800" err="1"/>
              <a:t>notez</a:t>
            </a:r>
            <a:r>
              <a:rPr sz="1800"/>
              <a:t> les </a:t>
            </a:r>
            <a:r>
              <a:rPr sz="1800" err="1"/>
              <a:t>sujets</a:t>
            </a:r>
            <a:r>
              <a:rPr sz="1800"/>
              <a:t> </a:t>
            </a:r>
            <a:r>
              <a:rPr sz="1800" err="1"/>
              <a:t>supplémentaires</a:t>
            </a:r>
            <a:r>
              <a:rPr sz="1800"/>
              <a:t> </a:t>
            </a:r>
            <a:r>
              <a:rPr sz="1800" err="1"/>
              <a:t>dont</a:t>
            </a:r>
            <a:r>
              <a:rPr sz="1800"/>
              <a:t> </a:t>
            </a:r>
            <a:r>
              <a:rPr sz="1800" err="1"/>
              <a:t>vous</a:t>
            </a:r>
            <a:r>
              <a:rPr sz="1800"/>
              <a:t> </a:t>
            </a:r>
            <a:r>
              <a:rPr sz="1800" err="1"/>
              <a:t>aimeriez</a:t>
            </a:r>
            <a:r>
              <a:rPr sz="1800"/>
              <a:t> </a:t>
            </a:r>
            <a:r>
              <a:rPr sz="1800" err="1"/>
              <a:t>discuter</a:t>
            </a:r>
            <a:r>
              <a:rPr sz="1800"/>
              <a:t> avec </a:t>
            </a:r>
            <a:r>
              <a:rPr sz="1800" err="1"/>
              <a:t>lui</a:t>
            </a:r>
            <a:r>
              <a:rPr sz="1800"/>
              <a:t>. </a:t>
            </a:r>
          </a:p>
          <a:p>
            <a:pPr lvl="1"/>
            <a:r>
              <a:rPr sz="1800"/>
              <a:t>Si </a:t>
            </a:r>
            <a:r>
              <a:rPr sz="1800" err="1"/>
              <a:t>vous</a:t>
            </a:r>
            <a:r>
              <a:rPr sz="1800"/>
              <a:t> </a:t>
            </a:r>
            <a:r>
              <a:rPr sz="1800" err="1"/>
              <a:t>hésitez</a:t>
            </a:r>
            <a:r>
              <a:rPr sz="1800"/>
              <a:t>, </a:t>
            </a:r>
            <a:r>
              <a:rPr sz="1800" err="1"/>
              <a:t>pourquoi</a:t>
            </a:r>
            <a:r>
              <a:rPr sz="1800"/>
              <a:t> ? </a:t>
            </a:r>
            <a:r>
              <a:rPr sz="1800" err="1"/>
              <a:t>Notez</a:t>
            </a:r>
            <a:r>
              <a:rPr sz="1800"/>
              <a:t> les </a:t>
            </a:r>
            <a:r>
              <a:rPr sz="1800" err="1"/>
              <a:t>principales</a:t>
            </a:r>
            <a:r>
              <a:rPr sz="1800"/>
              <a:t> raisons pour </a:t>
            </a:r>
            <a:r>
              <a:rPr sz="1800" err="1"/>
              <a:t>lesquelles</a:t>
            </a:r>
            <a:r>
              <a:rPr sz="1800"/>
              <a:t> </a:t>
            </a:r>
            <a:r>
              <a:rPr sz="1800" err="1"/>
              <a:t>vous</a:t>
            </a:r>
            <a:r>
              <a:rPr sz="1800"/>
              <a:t> </a:t>
            </a:r>
            <a:r>
              <a:rPr sz="1800" err="1"/>
              <a:t>éprouvez</a:t>
            </a:r>
            <a:r>
              <a:rPr sz="1800"/>
              <a:t> de la </a:t>
            </a:r>
            <a:r>
              <a:rPr sz="1800" err="1"/>
              <a:t>réticence</a:t>
            </a:r>
            <a:r>
              <a:rPr sz="1800"/>
              <a:t> </a:t>
            </a:r>
            <a:r>
              <a:rPr sz="1800" err="1"/>
              <a:t>ou</a:t>
            </a:r>
            <a:r>
              <a:rPr sz="1800"/>
              <a:t> de </a:t>
            </a:r>
            <a:r>
              <a:rPr sz="1800" err="1"/>
              <a:t>l’incertitude</a:t>
            </a:r>
            <a:r>
              <a:rPr sz="1800"/>
              <a:t>. </a:t>
            </a:r>
          </a:p>
          <a:p>
            <a:pPr marL="514350" indent="-514350">
              <a:buFont typeface="+mj-lt"/>
              <a:buAutoNum type="arabicPeriod"/>
            </a:pPr>
            <a:endParaRPr lang="en-US"/>
          </a:p>
        </p:txBody>
      </p:sp>
    </p:spTree>
    <p:extLst>
      <p:ext uri="{BB962C8B-B14F-4D97-AF65-F5344CB8AC3E}">
        <p14:creationId xmlns:p14="http://schemas.microsoft.com/office/powerpoint/2010/main" val="29209451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79B8F-B17F-2646-948A-66EB86E8C8C2}"/>
              </a:ext>
            </a:extLst>
          </p:cNvPr>
          <p:cNvSpPr>
            <a:spLocks noGrp="1"/>
          </p:cNvSpPr>
          <p:nvPr>
            <p:ph type="title"/>
          </p:nvPr>
        </p:nvSpPr>
        <p:spPr/>
        <p:txBody>
          <a:bodyPr/>
          <a:lstStyle/>
          <a:p>
            <a:r>
              <a:rPr sz="2400"/>
              <a:t>Les </a:t>
            </a:r>
            <a:r>
              <a:rPr sz="2400" err="1"/>
              <a:t>principales</a:t>
            </a:r>
            <a:r>
              <a:rPr sz="2400"/>
              <a:t> </a:t>
            </a:r>
            <a:r>
              <a:rPr sz="2400" err="1"/>
              <a:t>leçons</a:t>
            </a:r>
            <a:r>
              <a:rPr sz="2400"/>
              <a:t> </a:t>
            </a:r>
            <a:r>
              <a:rPr sz="2400" err="1"/>
              <a:t>à</a:t>
            </a:r>
            <a:r>
              <a:rPr sz="2400"/>
              <a:t> </a:t>
            </a:r>
            <a:r>
              <a:rPr sz="2400" err="1"/>
              <a:t>retenir</a:t>
            </a:r>
            <a:endParaRPr sz="2400"/>
          </a:p>
        </p:txBody>
      </p:sp>
      <p:sp>
        <p:nvSpPr>
          <p:cNvPr id="3" name="Text Placeholder 2">
            <a:extLst>
              <a:ext uri="{FF2B5EF4-FFF2-40B4-BE49-F238E27FC236}">
                <a16:creationId xmlns:a16="http://schemas.microsoft.com/office/drawing/2014/main" id="{F4C896F3-4CE9-E24B-869E-4F7CD9E038A1}"/>
              </a:ext>
            </a:extLst>
          </p:cNvPr>
          <p:cNvSpPr>
            <a:spLocks noGrp="1"/>
          </p:cNvSpPr>
          <p:nvPr>
            <p:ph type="body" sz="quarter" idx="10"/>
          </p:nvPr>
        </p:nvSpPr>
        <p:spPr>
          <a:xfrm>
            <a:off x="383904" y="1001209"/>
            <a:ext cx="8239125" cy="4908937"/>
          </a:xfrm>
        </p:spPr>
        <p:txBody>
          <a:bodyPr/>
          <a:lstStyle/>
          <a:p>
            <a:pPr>
              <a:spcBef>
                <a:spcPts val="0"/>
              </a:spcBef>
              <a:spcAft>
                <a:spcPts val="600"/>
              </a:spcAft>
            </a:pPr>
            <a:r>
              <a:rPr sz="2000"/>
              <a:t>Le </a:t>
            </a:r>
            <a:r>
              <a:rPr sz="2000" err="1"/>
              <a:t>conseil</a:t>
            </a:r>
            <a:r>
              <a:rPr sz="2000"/>
              <a:t> </a:t>
            </a:r>
            <a:r>
              <a:rPr sz="2000" err="1"/>
              <a:t>psychologique</a:t>
            </a:r>
            <a:r>
              <a:rPr sz="2000"/>
              <a:t> </a:t>
            </a:r>
            <a:r>
              <a:rPr sz="2000" err="1"/>
              <a:t>est</a:t>
            </a:r>
            <a:r>
              <a:rPr sz="2000"/>
              <a:t> un </a:t>
            </a:r>
            <a:r>
              <a:rPr sz="2000" err="1"/>
              <a:t>processus</a:t>
            </a:r>
            <a:r>
              <a:rPr sz="2000"/>
              <a:t> dans </a:t>
            </a:r>
            <a:r>
              <a:rPr sz="2000" err="1"/>
              <a:t>lequel</a:t>
            </a:r>
            <a:r>
              <a:rPr sz="2000"/>
              <a:t> les gens </a:t>
            </a:r>
            <a:r>
              <a:rPr sz="2000" err="1"/>
              <a:t>s’engagent</a:t>
            </a:r>
            <a:r>
              <a:rPr sz="2000"/>
              <a:t> </a:t>
            </a:r>
            <a:r>
              <a:rPr sz="2000" err="1"/>
              <a:t>lorsqu'ils</a:t>
            </a:r>
            <a:r>
              <a:rPr sz="2000"/>
              <a:t> </a:t>
            </a:r>
            <a:r>
              <a:rPr sz="2000" err="1"/>
              <a:t>souhaitent</a:t>
            </a:r>
            <a:r>
              <a:rPr sz="2000"/>
              <a:t> changer </a:t>
            </a:r>
            <a:r>
              <a:rPr sz="2000" err="1"/>
              <a:t>quelque</a:t>
            </a:r>
            <a:r>
              <a:rPr sz="2000"/>
              <a:t> chose dans </a:t>
            </a:r>
            <a:r>
              <a:rPr sz="2000" err="1"/>
              <a:t>leur</a:t>
            </a:r>
            <a:r>
              <a:rPr sz="2000"/>
              <a:t> vie, </a:t>
            </a:r>
            <a:r>
              <a:rPr sz="2000" err="1"/>
              <a:t>ou</a:t>
            </a:r>
            <a:r>
              <a:rPr sz="2000"/>
              <a:t> </a:t>
            </a:r>
            <a:r>
              <a:rPr sz="2000" err="1"/>
              <a:t>simplement</a:t>
            </a:r>
            <a:r>
              <a:rPr sz="2000"/>
              <a:t> explorer </a:t>
            </a:r>
            <a:r>
              <a:rPr sz="2000" err="1"/>
              <a:t>leurs</a:t>
            </a:r>
            <a:r>
              <a:rPr sz="2000"/>
              <a:t> pensées et </a:t>
            </a:r>
            <a:r>
              <a:rPr sz="2000" err="1"/>
              <a:t>leurs</a:t>
            </a:r>
            <a:r>
              <a:rPr sz="2000"/>
              <a:t> </a:t>
            </a:r>
            <a:r>
              <a:rPr sz="2000" err="1"/>
              <a:t>émotions</a:t>
            </a:r>
            <a:r>
              <a:rPr sz="2000"/>
              <a:t>.</a:t>
            </a:r>
          </a:p>
          <a:p>
            <a:pPr>
              <a:spcBef>
                <a:spcPts val="0"/>
              </a:spcBef>
              <a:spcAft>
                <a:spcPts val="600"/>
              </a:spcAft>
            </a:pPr>
            <a:r>
              <a:rPr sz="2000" err="1"/>
              <a:t>L’aide</a:t>
            </a:r>
            <a:r>
              <a:rPr sz="2000"/>
              <a:t> d'un </a:t>
            </a:r>
            <a:r>
              <a:rPr sz="2000" err="1"/>
              <a:t>conseiller</a:t>
            </a:r>
            <a:r>
              <a:rPr sz="2000"/>
              <a:t> </a:t>
            </a:r>
            <a:r>
              <a:rPr sz="2000" err="1"/>
              <a:t>psychologue</a:t>
            </a:r>
            <a:r>
              <a:rPr sz="2000"/>
              <a:t> </a:t>
            </a:r>
            <a:r>
              <a:rPr sz="2000" err="1"/>
              <a:t>peut</a:t>
            </a:r>
            <a:r>
              <a:rPr sz="2000"/>
              <a:t> </a:t>
            </a:r>
            <a:r>
              <a:rPr sz="2000" err="1"/>
              <a:t>s’avérer</a:t>
            </a:r>
            <a:r>
              <a:rPr sz="2000"/>
              <a:t> </a:t>
            </a:r>
            <a:r>
              <a:rPr sz="2000" err="1"/>
              <a:t>précieuse</a:t>
            </a:r>
            <a:r>
              <a:rPr sz="2000"/>
              <a:t> pour </a:t>
            </a:r>
            <a:r>
              <a:rPr sz="2000" err="1"/>
              <a:t>surmonter</a:t>
            </a:r>
            <a:r>
              <a:rPr sz="2000"/>
              <a:t> </a:t>
            </a:r>
            <a:r>
              <a:rPr sz="2000" err="1"/>
              <a:t>diverses</a:t>
            </a:r>
            <a:r>
              <a:rPr sz="2000"/>
              <a:t> </a:t>
            </a:r>
            <a:r>
              <a:rPr sz="2000" err="1"/>
              <a:t>difficultés</a:t>
            </a:r>
            <a:r>
              <a:rPr sz="2000"/>
              <a:t>. </a:t>
            </a:r>
            <a:r>
              <a:rPr sz="2000" err="1"/>
              <a:t>Solliciter</a:t>
            </a:r>
            <a:r>
              <a:rPr sz="2000"/>
              <a:t> </a:t>
            </a:r>
            <a:r>
              <a:rPr sz="2000" err="1"/>
              <a:t>l’aide</a:t>
            </a:r>
            <a:r>
              <a:rPr sz="2000"/>
              <a:t> d'un </a:t>
            </a:r>
            <a:r>
              <a:rPr sz="2000" err="1"/>
              <a:t>conseiller</a:t>
            </a:r>
            <a:r>
              <a:rPr sz="2000"/>
              <a:t> </a:t>
            </a:r>
            <a:r>
              <a:rPr sz="2000" err="1"/>
              <a:t>psychologue</a:t>
            </a:r>
            <a:r>
              <a:rPr sz="2000"/>
              <a:t> </a:t>
            </a:r>
            <a:r>
              <a:rPr sz="2000" err="1"/>
              <a:t>peut</a:t>
            </a:r>
            <a:r>
              <a:rPr sz="2000"/>
              <a:t> </a:t>
            </a:r>
            <a:r>
              <a:rPr sz="2000" err="1"/>
              <a:t>être</a:t>
            </a:r>
            <a:r>
              <a:rPr sz="2000"/>
              <a:t> un </a:t>
            </a:r>
            <a:r>
              <a:rPr sz="2000" err="1"/>
              <a:t>signe</a:t>
            </a:r>
            <a:r>
              <a:rPr sz="2000"/>
              <a:t> de courage et de force, </a:t>
            </a:r>
            <a:r>
              <a:rPr sz="2000" err="1"/>
              <a:t>une</a:t>
            </a:r>
            <a:r>
              <a:rPr sz="2000"/>
              <a:t> </a:t>
            </a:r>
            <a:r>
              <a:rPr sz="2000" err="1"/>
              <a:t>preuve</a:t>
            </a:r>
            <a:r>
              <a:rPr sz="2000"/>
              <a:t> que </a:t>
            </a:r>
            <a:r>
              <a:rPr sz="2000" err="1"/>
              <a:t>vous</a:t>
            </a:r>
            <a:r>
              <a:rPr sz="2000"/>
              <a:t> </a:t>
            </a:r>
            <a:r>
              <a:rPr sz="2000" err="1"/>
              <a:t>êtes</a:t>
            </a:r>
            <a:r>
              <a:rPr sz="2000"/>
              <a:t> prêt </a:t>
            </a:r>
            <a:r>
              <a:rPr sz="2000" err="1"/>
              <a:t>à</a:t>
            </a:r>
            <a:r>
              <a:rPr sz="2000"/>
              <a:t> </a:t>
            </a:r>
            <a:r>
              <a:rPr sz="2000" err="1"/>
              <a:t>comprendre</a:t>
            </a:r>
            <a:r>
              <a:rPr sz="2000"/>
              <a:t> et </a:t>
            </a:r>
            <a:r>
              <a:rPr sz="2000" err="1"/>
              <a:t>à</a:t>
            </a:r>
            <a:r>
              <a:rPr sz="2000"/>
              <a:t> </a:t>
            </a:r>
            <a:r>
              <a:rPr sz="2000" err="1"/>
              <a:t>surmonter</a:t>
            </a:r>
            <a:r>
              <a:rPr sz="2000"/>
              <a:t> des </a:t>
            </a:r>
            <a:r>
              <a:rPr sz="2000" err="1"/>
              <a:t>défis</a:t>
            </a:r>
            <a:r>
              <a:rPr sz="2000"/>
              <a:t> dans </a:t>
            </a:r>
            <a:r>
              <a:rPr sz="2000" err="1"/>
              <a:t>votre</a:t>
            </a:r>
            <a:r>
              <a:rPr sz="2000"/>
              <a:t> vie. </a:t>
            </a:r>
          </a:p>
          <a:p>
            <a:pPr>
              <a:spcBef>
                <a:spcPts val="0"/>
              </a:spcBef>
              <a:spcAft>
                <a:spcPts val="600"/>
              </a:spcAft>
            </a:pPr>
            <a:r>
              <a:rPr sz="2000"/>
              <a:t>Un bon </a:t>
            </a:r>
            <a:r>
              <a:rPr sz="2000" err="1"/>
              <a:t>conseiller</a:t>
            </a:r>
            <a:r>
              <a:rPr sz="2000"/>
              <a:t> </a:t>
            </a:r>
            <a:r>
              <a:rPr sz="2000" err="1"/>
              <a:t>psychologue</a:t>
            </a:r>
            <a:r>
              <a:rPr sz="2000"/>
              <a:t> </a:t>
            </a:r>
            <a:r>
              <a:rPr sz="2000" err="1"/>
              <a:t>peut</a:t>
            </a:r>
            <a:r>
              <a:rPr sz="2000"/>
              <a:t> </a:t>
            </a:r>
            <a:r>
              <a:rPr sz="2000" err="1"/>
              <a:t>vous</a:t>
            </a:r>
            <a:r>
              <a:rPr sz="2000"/>
              <a:t> aider </a:t>
            </a:r>
            <a:r>
              <a:rPr sz="2000" err="1"/>
              <a:t>à</a:t>
            </a:r>
            <a:r>
              <a:rPr sz="2000"/>
              <a:t> :</a:t>
            </a:r>
          </a:p>
          <a:p>
            <a:pPr lvl="1">
              <a:lnSpc>
                <a:spcPct val="100000"/>
              </a:lnSpc>
              <a:spcBef>
                <a:spcPts val="0"/>
              </a:spcBef>
              <a:spcAft>
                <a:spcPts val="600"/>
              </a:spcAft>
            </a:pPr>
            <a:r>
              <a:rPr sz="1800" err="1"/>
              <a:t>Digérer</a:t>
            </a:r>
            <a:r>
              <a:rPr sz="1800"/>
              <a:t> </a:t>
            </a:r>
            <a:r>
              <a:rPr sz="1800" err="1"/>
              <a:t>vos</a:t>
            </a:r>
            <a:r>
              <a:rPr sz="1800"/>
              <a:t> pensées et </a:t>
            </a:r>
            <a:r>
              <a:rPr sz="1800" err="1"/>
              <a:t>vos</a:t>
            </a:r>
            <a:r>
              <a:rPr sz="1800"/>
              <a:t> </a:t>
            </a:r>
            <a:r>
              <a:rPr sz="1800" err="1"/>
              <a:t>émotions</a:t>
            </a:r>
            <a:endParaRPr sz="1800"/>
          </a:p>
          <a:p>
            <a:pPr lvl="1">
              <a:lnSpc>
                <a:spcPct val="100000"/>
              </a:lnSpc>
              <a:spcBef>
                <a:spcPts val="0"/>
              </a:spcBef>
              <a:spcAft>
                <a:spcPts val="600"/>
              </a:spcAft>
            </a:pPr>
            <a:r>
              <a:rPr sz="1800" err="1"/>
              <a:t>Comprendre</a:t>
            </a:r>
            <a:r>
              <a:rPr sz="1800"/>
              <a:t> les </a:t>
            </a:r>
            <a:r>
              <a:rPr sz="1800" err="1"/>
              <a:t>difficultés</a:t>
            </a:r>
            <a:r>
              <a:rPr sz="1800"/>
              <a:t> </a:t>
            </a:r>
            <a:r>
              <a:rPr sz="1800" err="1"/>
              <a:t>ou</a:t>
            </a:r>
            <a:r>
              <a:rPr sz="1800"/>
              <a:t> les </a:t>
            </a:r>
            <a:r>
              <a:rPr sz="1800" err="1"/>
              <a:t>inquiétudes</a:t>
            </a:r>
            <a:r>
              <a:rPr sz="1800"/>
              <a:t> que </a:t>
            </a:r>
            <a:r>
              <a:rPr sz="1800" err="1"/>
              <a:t>vous</a:t>
            </a:r>
            <a:r>
              <a:rPr sz="1800"/>
              <a:t> </a:t>
            </a:r>
            <a:r>
              <a:rPr sz="1800" err="1"/>
              <a:t>rencontrez</a:t>
            </a:r>
            <a:endParaRPr sz="1800"/>
          </a:p>
          <a:p>
            <a:pPr lvl="1">
              <a:lnSpc>
                <a:spcPct val="100000"/>
              </a:lnSpc>
              <a:spcBef>
                <a:spcPts val="0"/>
              </a:spcBef>
              <a:spcAft>
                <a:spcPts val="600"/>
              </a:spcAft>
            </a:pPr>
            <a:r>
              <a:rPr sz="1800" err="1"/>
              <a:t>Réfléchir</a:t>
            </a:r>
            <a:r>
              <a:rPr sz="1800"/>
              <a:t> ensemble </a:t>
            </a:r>
            <a:r>
              <a:rPr sz="1800" err="1"/>
              <a:t>afin</a:t>
            </a:r>
            <a:r>
              <a:rPr sz="1800"/>
              <a:t> de </a:t>
            </a:r>
            <a:r>
              <a:rPr sz="1800" err="1"/>
              <a:t>trouver</a:t>
            </a:r>
            <a:r>
              <a:rPr sz="1800"/>
              <a:t> des </a:t>
            </a:r>
            <a:r>
              <a:rPr sz="1800" err="1"/>
              <a:t>idées</a:t>
            </a:r>
            <a:r>
              <a:rPr sz="1800"/>
              <a:t> et </a:t>
            </a:r>
            <a:r>
              <a:rPr sz="1800" err="1"/>
              <a:t>d’évaluer</a:t>
            </a:r>
            <a:r>
              <a:rPr sz="1800"/>
              <a:t> les </a:t>
            </a:r>
            <a:r>
              <a:rPr sz="1800" err="1"/>
              <a:t>possibilités</a:t>
            </a:r>
            <a:endParaRPr sz="1800"/>
          </a:p>
          <a:p>
            <a:pPr lvl="1">
              <a:lnSpc>
                <a:spcPct val="100000"/>
              </a:lnSpc>
              <a:spcBef>
                <a:spcPts val="0"/>
              </a:spcBef>
              <a:spcAft>
                <a:spcPts val="600"/>
              </a:spcAft>
            </a:pPr>
            <a:r>
              <a:rPr sz="1800"/>
              <a:t>Identifier </a:t>
            </a:r>
            <a:r>
              <a:rPr sz="1800" err="1"/>
              <a:t>d’autres</a:t>
            </a:r>
            <a:r>
              <a:rPr sz="1800"/>
              <a:t> points de </a:t>
            </a:r>
            <a:r>
              <a:rPr sz="1800" err="1"/>
              <a:t>vue</a:t>
            </a:r>
            <a:r>
              <a:rPr sz="1800"/>
              <a:t> </a:t>
            </a:r>
            <a:r>
              <a:rPr sz="1800" err="1"/>
              <a:t>ou</a:t>
            </a:r>
            <a:r>
              <a:rPr sz="1800"/>
              <a:t> manières de </a:t>
            </a:r>
            <a:r>
              <a:rPr sz="1800" err="1"/>
              <a:t>penser</a:t>
            </a:r>
            <a:endParaRPr sz="1800"/>
          </a:p>
          <a:p>
            <a:pPr lvl="1">
              <a:lnSpc>
                <a:spcPct val="100000"/>
              </a:lnSpc>
              <a:spcBef>
                <a:spcPts val="0"/>
              </a:spcBef>
              <a:spcAft>
                <a:spcPts val="600"/>
              </a:spcAft>
            </a:pPr>
            <a:r>
              <a:rPr sz="1800"/>
              <a:t>Identifier les </a:t>
            </a:r>
            <a:r>
              <a:rPr sz="1800" err="1"/>
              <a:t>changements</a:t>
            </a:r>
            <a:r>
              <a:rPr sz="1800"/>
              <a:t> </a:t>
            </a:r>
            <a:r>
              <a:rPr sz="1800" err="1"/>
              <a:t>souhaités</a:t>
            </a:r>
            <a:endParaRPr sz="1800"/>
          </a:p>
          <a:p>
            <a:endParaRPr lang="en-US" sz="2400">
              <a:solidFill>
                <a:schemeClr val="accent6">
                  <a:lumMod val="50000"/>
                </a:schemeClr>
              </a:solidFill>
            </a:endParaRPr>
          </a:p>
          <a:p>
            <a:endParaRPr lang="en-US" sz="2400"/>
          </a:p>
          <a:p>
            <a:endParaRPr lang="en-US"/>
          </a:p>
        </p:txBody>
      </p:sp>
    </p:spTree>
    <p:extLst>
      <p:ext uri="{BB962C8B-B14F-4D97-AF65-F5344CB8AC3E}">
        <p14:creationId xmlns:p14="http://schemas.microsoft.com/office/powerpoint/2010/main" val="2946669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r>
              <a:t>1. Qu'est-ce que le conseil psychologique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80228-6D98-894C-A35E-D4FAD413C068}"/>
              </a:ext>
            </a:extLst>
          </p:cNvPr>
          <p:cNvSpPr>
            <a:spLocks noGrp="1"/>
          </p:cNvSpPr>
          <p:nvPr>
            <p:ph type="title"/>
          </p:nvPr>
        </p:nvSpPr>
        <p:spPr/>
        <p:txBody>
          <a:bodyPr/>
          <a:lstStyle/>
          <a:p>
            <a:r>
              <a:t>Le conseil psychologique est...</a:t>
            </a:r>
          </a:p>
        </p:txBody>
      </p:sp>
      <p:sp>
        <p:nvSpPr>
          <p:cNvPr id="3" name="Text Placeholder 2">
            <a:extLst>
              <a:ext uri="{FF2B5EF4-FFF2-40B4-BE49-F238E27FC236}">
                <a16:creationId xmlns:a16="http://schemas.microsoft.com/office/drawing/2014/main" id="{AD029C0F-EA97-2E4B-8D5C-E73047B661A5}"/>
              </a:ext>
            </a:extLst>
          </p:cNvPr>
          <p:cNvSpPr>
            <a:spLocks noGrp="1"/>
          </p:cNvSpPr>
          <p:nvPr>
            <p:ph type="body" sz="quarter" idx="10"/>
          </p:nvPr>
        </p:nvSpPr>
        <p:spPr>
          <a:xfrm>
            <a:off x="940742" y="2020543"/>
            <a:ext cx="7400371" cy="3657600"/>
          </a:xfrm>
        </p:spPr>
        <p:txBody>
          <a:bodyPr/>
          <a:lstStyle/>
          <a:p>
            <a:pPr marL="0" indent="0" algn="ctr">
              <a:lnSpc>
                <a:spcPct val="100000"/>
              </a:lnSpc>
              <a:buNone/>
            </a:pPr>
            <a:r>
              <a:rPr sz="2800"/>
              <a:t>Ce terme peut avoir différentes significations pour différentes personnes. En général, il s’agit d'un processus dans lequel les gens s’engagent lorsqu'ils souhaitent changer quelque chose dans leur vie, ou simplement explorer leurs pensées et leurs émotions.</a:t>
            </a:r>
          </a:p>
          <a:p>
            <a:pPr marL="0" indent="0" algn="ctr">
              <a:lnSpc>
                <a:spcPct val="100000"/>
              </a:lnSpc>
              <a:buNone/>
            </a:pPr>
            <a:endParaRPr lang="en-US" sz="1800"/>
          </a:p>
        </p:txBody>
      </p:sp>
    </p:spTree>
    <p:extLst>
      <p:ext uri="{BB962C8B-B14F-4D97-AF65-F5344CB8AC3E}">
        <p14:creationId xmlns:p14="http://schemas.microsoft.com/office/powerpoint/2010/main" val="237545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27617-2CB7-8B4B-9AE4-11FD30DFB050}"/>
              </a:ext>
            </a:extLst>
          </p:cNvPr>
          <p:cNvSpPr>
            <a:spLocks noGrp="1"/>
          </p:cNvSpPr>
          <p:nvPr>
            <p:ph type="title"/>
          </p:nvPr>
        </p:nvSpPr>
        <p:spPr>
          <a:xfrm>
            <a:off x="171450" y="136526"/>
            <a:ext cx="8835390" cy="611619"/>
          </a:xfrm>
        </p:spPr>
        <p:txBody>
          <a:bodyPr/>
          <a:lstStyle/>
          <a:p>
            <a:r>
              <a:rPr err="1"/>
              <a:t>Mythes</a:t>
            </a:r>
            <a:r>
              <a:t> courants </a:t>
            </a:r>
            <a:r>
              <a:rPr err="1"/>
              <a:t>à</a:t>
            </a:r>
            <a:r>
              <a:t> </a:t>
            </a:r>
            <a:r>
              <a:rPr err="1"/>
              <a:t>propos</a:t>
            </a:r>
            <a:r>
              <a:t> du </a:t>
            </a:r>
            <a:r>
              <a:rPr err="1"/>
              <a:t>conseil</a:t>
            </a:r>
            <a:r>
              <a:t> </a:t>
            </a:r>
            <a:r>
              <a:rPr err="1"/>
              <a:t>psychologique</a:t>
            </a:r>
            <a:endParaRPr/>
          </a:p>
        </p:txBody>
      </p:sp>
      <p:sp>
        <p:nvSpPr>
          <p:cNvPr id="3" name="Text Placeholder 2">
            <a:extLst>
              <a:ext uri="{FF2B5EF4-FFF2-40B4-BE49-F238E27FC236}">
                <a16:creationId xmlns:a16="http://schemas.microsoft.com/office/drawing/2014/main" id="{C7A8C809-112E-D24C-8173-F0101DBD8F4B}"/>
              </a:ext>
            </a:extLst>
          </p:cNvPr>
          <p:cNvSpPr>
            <a:spLocks noGrp="1"/>
          </p:cNvSpPr>
          <p:nvPr>
            <p:ph type="body" sz="quarter" idx="10"/>
          </p:nvPr>
        </p:nvSpPr>
        <p:spPr>
          <a:xfrm>
            <a:off x="408957" y="1074923"/>
            <a:ext cx="8331282" cy="4843145"/>
          </a:xfrm>
        </p:spPr>
        <p:txBody>
          <a:bodyPr/>
          <a:lstStyle/>
          <a:p>
            <a:pPr marL="514350" indent="-514350">
              <a:lnSpc>
                <a:spcPct val="100000"/>
              </a:lnSpc>
              <a:spcBef>
                <a:spcPts val="600"/>
              </a:spcBef>
              <a:spcAft>
                <a:spcPts val="600"/>
              </a:spcAft>
              <a:buFont typeface="+mj-lt"/>
              <a:buAutoNum type="arabicPeriod"/>
            </a:pPr>
            <a:r>
              <a:rPr sz="2000">
                <a:solidFill>
                  <a:srgbClr val="FF0000"/>
                </a:solidFill>
              </a:rPr>
              <a:t>Il </a:t>
            </a:r>
            <a:r>
              <a:rPr sz="2000" err="1">
                <a:solidFill>
                  <a:srgbClr val="FF0000"/>
                </a:solidFill>
              </a:rPr>
              <a:t>n'y</a:t>
            </a:r>
            <a:r>
              <a:rPr sz="2000">
                <a:solidFill>
                  <a:srgbClr val="FF0000"/>
                </a:solidFill>
              </a:rPr>
              <a:t> a que les « </a:t>
            </a:r>
            <a:r>
              <a:rPr sz="2000" err="1">
                <a:solidFill>
                  <a:srgbClr val="FF0000"/>
                </a:solidFill>
              </a:rPr>
              <a:t>fous</a:t>
            </a:r>
            <a:r>
              <a:rPr sz="2000">
                <a:solidFill>
                  <a:srgbClr val="FF0000"/>
                </a:solidFill>
              </a:rPr>
              <a:t> » qui </a:t>
            </a:r>
            <a:r>
              <a:rPr sz="2000" err="1">
                <a:solidFill>
                  <a:srgbClr val="FF0000"/>
                </a:solidFill>
              </a:rPr>
              <a:t>ont</a:t>
            </a:r>
            <a:r>
              <a:rPr sz="2000">
                <a:solidFill>
                  <a:srgbClr val="FF0000"/>
                </a:solidFill>
              </a:rPr>
              <a:t> </a:t>
            </a:r>
            <a:r>
              <a:rPr sz="2000" err="1">
                <a:solidFill>
                  <a:srgbClr val="FF0000"/>
                </a:solidFill>
              </a:rPr>
              <a:t>besoin</a:t>
            </a:r>
            <a:r>
              <a:rPr sz="2000">
                <a:solidFill>
                  <a:srgbClr val="FF0000"/>
                </a:solidFill>
              </a:rPr>
              <a:t> de </a:t>
            </a:r>
            <a:r>
              <a:rPr sz="2000" err="1">
                <a:solidFill>
                  <a:srgbClr val="FF0000"/>
                </a:solidFill>
              </a:rPr>
              <a:t>l’aide</a:t>
            </a:r>
            <a:r>
              <a:rPr sz="2000">
                <a:solidFill>
                  <a:srgbClr val="FF0000"/>
                </a:solidFill>
              </a:rPr>
              <a:t> d’un </a:t>
            </a:r>
            <a:r>
              <a:rPr sz="2000" err="1">
                <a:solidFill>
                  <a:srgbClr val="FF0000"/>
                </a:solidFill>
              </a:rPr>
              <a:t>conseiller</a:t>
            </a:r>
            <a:r>
              <a:rPr sz="2000">
                <a:solidFill>
                  <a:srgbClr val="FF0000"/>
                </a:solidFill>
              </a:rPr>
              <a:t> </a:t>
            </a:r>
            <a:r>
              <a:rPr sz="2000" err="1">
                <a:solidFill>
                  <a:srgbClr val="FF0000"/>
                </a:solidFill>
              </a:rPr>
              <a:t>psychologue</a:t>
            </a:r>
            <a:r>
              <a:rPr sz="2000">
                <a:solidFill>
                  <a:srgbClr val="FF0000"/>
                </a:solidFill>
              </a:rPr>
              <a:t>.</a:t>
            </a:r>
          </a:p>
          <a:p>
            <a:pPr lvl="1">
              <a:lnSpc>
                <a:spcPct val="100000"/>
              </a:lnSpc>
              <a:spcBef>
                <a:spcPts val="600"/>
              </a:spcBef>
              <a:spcAft>
                <a:spcPts val="600"/>
              </a:spcAft>
            </a:pPr>
            <a:r>
              <a:rPr sz="2000">
                <a:solidFill>
                  <a:schemeClr val="accent6">
                    <a:lumMod val="50000"/>
                  </a:schemeClr>
                </a:solidFill>
              </a:rPr>
              <a:t>Les </a:t>
            </a:r>
            <a:r>
              <a:rPr sz="2000" err="1">
                <a:solidFill>
                  <a:schemeClr val="accent6">
                    <a:lumMod val="50000"/>
                  </a:schemeClr>
                </a:solidFill>
              </a:rPr>
              <a:t>conseillers</a:t>
            </a:r>
            <a:r>
              <a:rPr sz="2000">
                <a:solidFill>
                  <a:schemeClr val="accent6">
                    <a:lumMod val="50000"/>
                  </a:schemeClr>
                </a:solidFill>
              </a:rPr>
              <a:t> </a:t>
            </a:r>
            <a:r>
              <a:rPr sz="2000" err="1">
                <a:solidFill>
                  <a:schemeClr val="accent6">
                    <a:lumMod val="50000"/>
                  </a:schemeClr>
                </a:solidFill>
              </a:rPr>
              <a:t>psychologues</a:t>
            </a:r>
            <a:r>
              <a:rPr sz="2000">
                <a:solidFill>
                  <a:schemeClr val="accent6">
                    <a:lumMod val="50000"/>
                  </a:schemeClr>
                </a:solidFill>
              </a:rPr>
              <a:t> </a:t>
            </a:r>
            <a:r>
              <a:rPr sz="2000" err="1">
                <a:solidFill>
                  <a:schemeClr val="accent6">
                    <a:lumMod val="50000"/>
                  </a:schemeClr>
                </a:solidFill>
              </a:rPr>
              <a:t>travaillent</a:t>
            </a:r>
            <a:r>
              <a:rPr sz="2000">
                <a:solidFill>
                  <a:schemeClr val="accent6">
                    <a:lumMod val="50000"/>
                  </a:schemeClr>
                </a:solidFill>
              </a:rPr>
              <a:t> </a:t>
            </a:r>
            <a:r>
              <a:rPr sz="2000" err="1">
                <a:solidFill>
                  <a:schemeClr val="accent6">
                    <a:lumMod val="50000"/>
                  </a:schemeClr>
                </a:solidFill>
              </a:rPr>
              <a:t>souvent</a:t>
            </a:r>
            <a:r>
              <a:rPr sz="2000">
                <a:solidFill>
                  <a:schemeClr val="accent6">
                    <a:lumMod val="50000"/>
                  </a:schemeClr>
                </a:solidFill>
              </a:rPr>
              <a:t> </a:t>
            </a:r>
            <a:r>
              <a:rPr sz="2000" err="1">
                <a:solidFill>
                  <a:schemeClr val="accent6">
                    <a:lumMod val="50000"/>
                  </a:schemeClr>
                </a:solidFill>
              </a:rPr>
              <a:t>auprès</a:t>
            </a:r>
            <a:r>
              <a:rPr sz="2000">
                <a:solidFill>
                  <a:schemeClr val="accent6">
                    <a:lumMod val="50000"/>
                  </a:schemeClr>
                </a:solidFill>
              </a:rPr>
              <a:t> </a:t>
            </a:r>
            <a:r>
              <a:rPr sz="2000" err="1">
                <a:solidFill>
                  <a:schemeClr val="accent6">
                    <a:lumMod val="50000"/>
                  </a:schemeClr>
                </a:solidFill>
              </a:rPr>
              <a:t>d'individus</a:t>
            </a:r>
            <a:r>
              <a:rPr sz="2000">
                <a:solidFill>
                  <a:schemeClr val="accent6">
                    <a:lumMod val="50000"/>
                  </a:schemeClr>
                </a:solidFill>
              </a:rPr>
              <a:t> qui </a:t>
            </a:r>
            <a:r>
              <a:rPr sz="2000" err="1">
                <a:solidFill>
                  <a:schemeClr val="accent6">
                    <a:lumMod val="50000"/>
                  </a:schemeClr>
                </a:solidFill>
              </a:rPr>
              <a:t>sont</a:t>
            </a:r>
            <a:r>
              <a:rPr sz="2000">
                <a:solidFill>
                  <a:schemeClr val="accent6">
                    <a:lumMod val="50000"/>
                  </a:schemeClr>
                </a:solidFill>
              </a:rPr>
              <a:t> </a:t>
            </a:r>
            <a:r>
              <a:rPr sz="2000" err="1">
                <a:solidFill>
                  <a:schemeClr val="accent6">
                    <a:lumMod val="50000"/>
                  </a:schemeClr>
                </a:solidFill>
              </a:rPr>
              <a:t>confrontés</a:t>
            </a:r>
            <a:r>
              <a:rPr sz="2000">
                <a:solidFill>
                  <a:schemeClr val="accent6">
                    <a:lumMod val="50000"/>
                  </a:schemeClr>
                </a:solidFill>
              </a:rPr>
              <a:t> </a:t>
            </a:r>
            <a:r>
              <a:rPr sz="2000" err="1">
                <a:solidFill>
                  <a:schemeClr val="accent6">
                    <a:lumMod val="50000"/>
                  </a:schemeClr>
                </a:solidFill>
              </a:rPr>
              <a:t>à</a:t>
            </a:r>
            <a:r>
              <a:rPr sz="2000">
                <a:solidFill>
                  <a:schemeClr val="accent6">
                    <a:lumMod val="50000"/>
                  </a:schemeClr>
                </a:solidFill>
              </a:rPr>
              <a:t> des </a:t>
            </a:r>
            <a:r>
              <a:rPr sz="2000" err="1">
                <a:solidFill>
                  <a:schemeClr val="accent6">
                    <a:lumMod val="50000"/>
                  </a:schemeClr>
                </a:solidFill>
              </a:rPr>
              <a:t>circonstances</a:t>
            </a:r>
            <a:r>
              <a:rPr sz="2000">
                <a:solidFill>
                  <a:schemeClr val="accent6">
                    <a:lumMod val="50000"/>
                  </a:schemeClr>
                </a:solidFill>
              </a:rPr>
              <a:t> </a:t>
            </a:r>
            <a:r>
              <a:rPr sz="2000" err="1">
                <a:solidFill>
                  <a:schemeClr val="accent6">
                    <a:lumMod val="50000"/>
                  </a:schemeClr>
                </a:solidFill>
              </a:rPr>
              <a:t>difficiles</a:t>
            </a:r>
            <a:r>
              <a:rPr sz="2000">
                <a:solidFill>
                  <a:schemeClr val="accent6">
                    <a:lumMod val="50000"/>
                  </a:schemeClr>
                </a:solidFill>
              </a:rPr>
              <a:t>, </a:t>
            </a:r>
            <a:r>
              <a:rPr sz="2000" err="1">
                <a:solidFill>
                  <a:schemeClr val="accent6">
                    <a:lumMod val="50000"/>
                  </a:schemeClr>
                </a:solidFill>
              </a:rPr>
              <a:t>à</a:t>
            </a:r>
            <a:r>
              <a:rPr sz="2000">
                <a:solidFill>
                  <a:schemeClr val="accent6">
                    <a:lumMod val="50000"/>
                  </a:schemeClr>
                </a:solidFill>
              </a:rPr>
              <a:t> des </a:t>
            </a:r>
            <a:r>
              <a:rPr sz="2000" err="1">
                <a:solidFill>
                  <a:schemeClr val="accent6">
                    <a:lumMod val="50000"/>
                  </a:schemeClr>
                </a:solidFill>
              </a:rPr>
              <a:t>préoccupations</a:t>
            </a:r>
            <a:r>
              <a:rPr sz="2000">
                <a:solidFill>
                  <a:schemeClr val="accent6">
                    <a:lumMod val="50000"/>
                  </a:schemeClr>
                </a:solidFill>
              </a:rPr>
              <a:t> et/</a:t>
            </a:r>
            <a:r>
              <a:rPr sz="2000" err="1">
                <a:solidFill>
                  <a:schemeClr val="accent6">
                    <a:lumMod val="50000"/>
                  </a:schemeClr>
                </a:solidFill>
              </a:rPr>
              <a:t>ou</a:t>
            </a:r>
            <a:r>
              <a:rPr sz="2000">
                <a:solidFill>
                  <a:schemeClr val="accent6">
                    <a:lumMod val="50000"/>
                  </a:schemeClr>
                </a:solidFill>
              </a:rPr>
              <a:t> </a:t>
            </a:r>
            <a:r>
              <a:rPr sz="2000" err="1">
                <a:solidFill>
                  <a:schemeClr val="accent6">
                    <a:lumMod val="50000"/>
                  </a:schemeClr>
                </a:solidFill>
              </a:rPr>
              <a:t>à</a:t>
            </a:r>
            <a:r>
              <a:rPr sz="2000">
                <a:solidFill>
                  <a:schemeClr val="accent6">
                    <a:lumMod val="50000"/>
                  </a:schemeClr>
                </a:solidFill>
              </a:rPr>
              <a:t> des troubles </a:t>
            </a:r>
            <a:r>
              <a:rPr sz="2000" err="1">
                <a:solidFill>
                  <a:schemeClr val="accent6">
                    <a:lumMod val="50000"/>
                  </a:schemeClr>
                </a:solidFill>
              </a:rPr>
              <a:t>mentaux</a:t>
            </a:r>
            <a:r>
              <a:rPr sz="2000">
                <a:solidFill>
                  <a:schemeClr val="accent6">
                    <a:lumMod val="50000"/>
                  </a:schemeClr>
                </a:solidFill>
              </a:rPr>
              <a:t>. Le </a:t>
            </a:r>
            <a:r>
              <a:rPr sz="2000" err="1">
                <a:solidFill>
                  <a:schemeClr val="accent6">
                    <a:lumMod val="50000"/>
                  </a:schemeClr>
                </a:solidFill>
              </a:rPr>
              <a:t>conseil</a:t>
            </a:r>
            <a:r>
              <a:rPr sz="2000">
                <a:solidFill>
                  <a:schemeClr val="accent6">
                    <a:lumMod val="50000"/>
                  </a:schemeClr>
                </a:solidFill>
              </a:rPr>
              <a:t> </a:t>
            </a:r>
            <a:r>
              <a:rPr sz="2000" err="1">
                <a:solidFill>
                  <a:schemeClr val="accent6">
                    <a:lumMod val="50000"/>
                  </a:schemeClr>
                </a:solidFill>
              </a:rPr>
              <a:t>psychologique</a:t>
            </a:r>
            <a:r>
              <a:rPr sz="2000">
                <a:solidFill>
                  <a:schemeClr val="accent6">
                    <a:lumMod val="50000"/>
                  </a:schemeClr>
                </a:solidFill>
              </a:rPr>
              <a:t> </a:t>
            </a:r>
            <a:r>
              <a:rPr sz="2000" err="1">
                <a:solidFill>
                  <a:schemeClr val="accent6">
                    <a:lumMod val="50000"/>
                  </a:schemeClr>
                </a:solidFill>
              </a:rPr>
              <a:t>va</a:t>
            </a:r>
            <a:r>
              <a:rPr sz="2000">
                <a:solidFill>
                  <a:schemeClr val="accent6">
                    <a:lumMod val="50000"/>
                  </a:schemeClr>
                </a:solidFill>
              </a:rPr>
              <a:t> </a:t>
            </a:r>
            <a:r>
              <a:rPr sz="2000" err="1">
                <a:solidFill>
                  <a:schemeClr val="accent6">
                    <a:lumMod val="50000"/>
                  </a:schemeClr>
                </a:solidFill>
              </a:rPr>
              <a:t>cependant</a:t>
            </a:r>
            <a:r>
              <a:rPr sz="2000">
                <a:solidFill>
                  <a:schemeClr val="accent6">
                    <a:lumMod val="50000"/>
                  </a:schemeClr>
                </a:solidFill>
              </a:rPr>
              <a:t> bien au-</a:t>
            </a:r>
            <a:r>
              <a:rPr sz="2000" err="1">
                <a:solidFill>
                  <a:schemeClr val="accent6">
                    <a:lumMod val="50000"/>
                  </a:schemeClr>
                </a:solidFill>
              </a:rPr>
              <a:t>delà</a:t>
            </a:r>
            <a:r>
              <a:rPr sz="2000">
                <a:solidFill>
                  <a:schemeClr val="accent6">
                    <a:lumMod val="50000"/>
                  </a:schemeClr>
                </a:solidFill>
              </a:rPr>
              <a:t> des troubles </a:t>
            </a:r>
            <a:r>
              <a:rPr sz="2000" err="1">
                <a:solidFill>
                  <a:schemeClr val="accent6">
                    <a:lumMod val="50000"/>
                  </a:schemeClr>
                </a:solidFill>
              </a:rPr>
              <a:t>mentaux</a:t>
            </a:r>
            <a:r>
              <a:rPr sz="2000">
                <a:solidFill>
                  <a:schemeClr val="accent6">
                    <a:lumMod val="50000"/>
                  </a:schemeClr>
                </a:solidFill>
              </a:rPr>
              <a:t>. Tout le monde </a:t>
            </a:r>
            <a:r>
              <a:rPr sz="2000" err="1">
                <a:solidFill>
                  <a:schemeClr val="accent6">
                    <a:lumMod val="50000"/>
                  </a:schemeClr>
                </a:solidFill>
              </a:rPr>
              <a:t>peut</a:t>
            </a:r>
            <a:r>
              <a:rPr sz="2000">
                <a:solidFill>
                  <a:schemeClr val="accent6">
                    <a:lumMod val="50000"/>
                  </a:schemeClr>
                </a:solidFill>
              </a:rPr>
              <a:t> </a:t>
            </a:r>
            <a:r>
              <a:rPr sz="2000" err="1">
                <a:solidFill>
                  <a:schemeClr val="accent6">
                    <a:lumMod val="50000"/>
                  </a:schemeClr>
                </a:solidFill>
              </a:rPr>
              <a:t>bénéficier</a:t>
            </a:r>
            <a:r>
              <a:rPr sz="2000">
                <a:solidFill>
                  <a:schemeClr val="accent6">
                    <a:lumMod val="50000"/>
                  </a:schemeClr>
                </a:solidFill>
              </a:rPr>
              <a:t> de </a:t>
            </a:r>
            <a:r>
              <a:rPr sz="2000" err="1">
                <a:solidFill>
                  <a:schemeClr val="accent6">
                    <a:lumMod val="50000"/>
                  </a:schemeClr>
                </a:solidFill>
              </a:rPr>
              <a:t>conseils</a:t>
            </a:r>
            <a:r>
              <a:rPr sz="2000">
                <a:solidFill>
                  <a:schemeClr val="accent6">
                    <a:lumMod val="50000"/>
                  </a:schemeClr>
                </a:solidFill>
              </a:rPr>
              <a:t> </a:t>
            </a:r>
            <a:r>
              <a:rPr sz="2000" err="1">
                <a:solidFill>
                  <a:schemeClr val="accent6">
                    <a:lumMod val="50000"/>
                  </a:schemeClr>
                </a:solidFill>
              </a:rPr>
              <a:t>psychologiques</a:t>
            </a:r>
            <a:r>
              <a:rPr sz="2000">
                <a:solidFill>
                  <a:schemeClr val="accent6">
                    <a:lumMod val="50000"/>
                  </a:schemeClr>
                </a:solidFill>
              </a:rPr>
              <a:t> </a:t>
            </a:r>
            <a:r>
              <a:rPr sz="2000" err="1">
                <a:solidFill>
                  <a:schemeClr val="accent6">
                    <a:lumMod val="50000"/>
                  </a:schemeClr>
                </a:solidFill>
              </a:rPr>
              <a:t>avisés</a:t>
            </a:r>
            <a:r>
              <a:rPr sz="2000">
                <a:solidFill>
                  <a:schemeClr val="accent6">
                    <a:lumMod val="50000"/>
                  </a:schemeClr>
                </a:solidFill>
              </a:rPr>
              <a:t> </a:t>
            </a:r>
            <a:r>
              <a:rPr sz="2000" err="1">
                <a:solidFill>
                  <a:schemeClr val="accent6">
                    <a:lumMod val="50000"/>
                  </a:schemeClr>
                </a:solidFill>
              </a:rPr>
              <a:t>à</a:t>
            </a:r>
            <a:r>
              <a:rPr sz="2000">
                <a:solidFill>
                  <a:schemeClr val="accent6">
                    <a:lumMod val="50000"/>
                  </a:schemeClr>
                </a:solidFill>
              </a:rPr>
              <a:t> </a:t>
            </a:r>
            <a:r>
              <a:rPr sz="2000" err="1">
                <a:solidFill>
                  <a:schemeClr val="accent6">
                    <a:lumMod val="50000"/>
                  </a:schemeClr>
                </a:solidFill>
              </a:rPr>
              <a:t>différents</a:t>
            </a:r>
            <a:r>
              <a:rPr sz="2000">
                <a:solidFill>
                  <a:schemeClr val="accent6">
                    <a:lumMod val="50000"/>
                  </a:schemeClr>
                </a:solidFill>
              </a:rPr>
              <a:t> moments de </a:t>
            </a:r>
            <a:r>
              <a:rPr sz="2000" err="1">
                <a:solidFill>
                  <a:schemeClr val="accent6">
                    <a:lumMod val="50000"/>
                  </a:schemeClr>
                </a:solidFill>
              </a:rPr>
              <a:t>sa</a:t>
            </a:r>
            <a:r>
              <a:rPr sz="2000">
                <a:solidFill>
                  <a:schemeClr val="accent6">
                    <a:lumMod val="50000"/>
                  </a:schemeClr>
                </a:solidFill>
              </a:rPr>
              <a:t> vie. </a:t>
            </a:r>
          </a:p>
          <a:p>
            <a:pPr marL="514350" indent="-514350">
              <a:lnSpc>
                <a:spcPct val="100000"/>
              </a:lnSpc>
              <a:spcBef>
                <a:spcPts val="600"/>
              </a:spcBef>
              <a:spcAft>
                <a:spcPts val="600"/>
              </a:spcAft>
              <a:buFont typeface="+mj-lt"/>
              <a:buAutoNum type="arabicPeriod"/>
            </a:pPr>
            <a:r>
              <a:rPr sz="2000" err="1">
                <a:solidFill>
                  <a:srgbClr val="FF0000"/>
                </a:solidFill>
              </a:rPr>
              <a:t>Vous</a:t>
            </a:r>
            <a:r>
              <a:rPr sz="2000">
                <a:solidFill>
                  <a:srgbClr val="FF0000"/>
                </a:solidFill>
              </a:rPr>
              <a:t> </a:t>
            </a:r>
            <a:r>
              <a:rPr sz="2000" err="1">
                <a:solidFill>
                  <a:srgbClr val="FF0000"/>
                </a:solidFill>
              </a:rPr>
              <a:t>n’avez</a:t>
            </a:r>
            <a:r>
              <a:rPr sz="2000">
                <a:solidFill>
                  <a:srgbClr val="FF0000"/>
                </a:solidFill>
              </a:rPr>
              <a:t> </a:t>
            </a:r>
            <a:r>
              <a:rPr sz="2000" err="1">
                <a:solidFill>
                  <a:srgbClr val="FF0000"/>
                </a:solidFill>
              </a:rPr>
              <a:t>besoin</a:t>
            </a:r>
            <a:r>
              <a:rPr sz="2000">
                <a:solidFill>
                  <a:srgbClr val="FF0000"/>
                </a:solidFill>
              </a:rPr>
              <a:t> de </a:t>
            </a:r>
            <a:r>
              <a:rPr sz="2000" err="1">
                <a:solidFill>
                  <a:srgbClr val="FF0000"/>
                </a:solidFill>
              </a:rPr>
              <a:t>l’aide</a:t>
            </a:r>
            <a:r>
              <a:rPr sz="2000">
                <a:solidFill>
                  <a:srgbClr val="FF0000"/>
                </a:solidFill>
              </a:rPr>
              <a:t> d’un </a:t>
            </a:r>
            <a:r>
              <a:rPr sz="2000" err="1">
                <a:solidFill>
                  <a:srgbClr val="FF0000"/>
                </a:solidFill>
              </a:rPr>
              <a:t>conseiller</a:t>
            </a:r>
            <a:r>
              <a:rPr sz="2000">
                <a:solidFill>
                  <a:srgbClr val="FF0000"/>
                </a:solidFill>
              </a:rPr>
              <a:t> </a:t>
            </a:r>
            <a:r>
              <a:rPr sz="2000" err="1">
                <a:solidFill>
                  <a:srgbClr val="FF0000"/>
                </a:solidFill>
              </a:rPr>
              <a:t>psychologue</a:t>
            </a:r>
            <a:r>
              <a:rPr sz="2000">
                <a:solidFill>
                  <a:srgbClr val="FF0000"/>
                </a:solidFill>
              </a:rPr>
              <a:t> que </a:t>
            </a:r>
            <a:r>
              <a:rPr sz="2000" err="1">
                <a:solidFill>
                  <a:srgbClr val="FF0000"/>
                </a:solidFill>
              </a:rPr>
              <a:t>si</a:t>
            </a:r>
            <a:r>
              <a:rPr sz="2000">
                <a:solidFill>
                  <a:srgbClr val="FF0000"/>
                </a:solidFill>
              </a:rPr>
              <a:t> </a:t>
            </a:r>
            <a:r>
              <a:rPr sz="2000" err="1">
                <a:solidFill>
                  <a:srgbClr val="FF0000"/>
                </a:solidFill>
              </a:rPr>
              <a:t>vos</a:t>
            </a:r>
            <a:r>
              <a:rPr sz="2000">
                <a:solidFill>
                  <a:srgbClr val="FF0000"/>
                </a:solidFill>
              </a:rPr>
              <a:t> </a:t>
            </a:r>
            <a:r>
              <a:rPr sz="2000" err="1">
                <a:solidFill>
                  <a:srgbClr val="FF0000"/>
                </a:solidFill>
              </a:rPr>
              <a:t>problèmes</a:t>
            </a:r>
            <a:r>
              <a:rPr sz="2000">
                <a:solidFill>
                  <a:srgbClr val="FF0000"/>
                </a:solidFill>
              </a:rPr>
              <a:t> </a:t>
            </a:r>
            <a:r>
              <a:rPr sz="2000" err="1">
                <a:solidFill>
                  <a:srgbClr val="FF0000"/>
                </a:solidFill>
              </a:rPr>
              <a:t>deviennent</a:t>
            </a:r>
            <a:r>
              <a:rPr sz="2000">
                <a:solidFill>
                  <a:srgbClr val="FF0000"/>
                </a:solidFill>
              </a:rPr>
              <a:t> </a:t>
            </a:r>
            <a:r>
              <a:rPr sz="2000" err="1">
                <a:solidFill>
                  <a:srgbClr val="FF0000"/>
                </a:solidFill>
              </a:rPr>
              <a:t>tellement</a:t>
            </a:r>
            <a:r>
              <a:rPr sz="2000">
                <a:solidFill>
                  <a:srgbClr val="FF0000"/>
                </a:solidFill>
              </a:rPr>
              <a:t> </a:t>
            </a:r>
            <a:r>
              <a:rPr sz="2000" err="1">
                <a:solidFill>
                  <a:srgbClr val="FF0000"/>
                </a:solidFill>
              </a:rPr>
              <a:t>envahissants</a:t>
            </a:r>
            <a:r>
              <a:rPr sz="2000">
                <a:solidFill>
                  <a:srgbClr val="FF0000"/>
                </a:solidFill>
              </a:rPr>
              <a:t> que </a:t>
            </a:r>
            <a:r>
              <a:rPr sz="2000" err="1">
                <a:solidFill>
                  <a:srgbClr val="FF0000"/>
                </a:solidFill>
              </a:rPr>
              <a:t>vous</a:t>
            </a:r>
            <a:r>
              <a:rPr sz="2000">
                <a:solidFill>
                  <a:srgbClr val="FF0000"/>
                </a:solidFill>
              </a:rPr>
              <a:t> </a:t>
            </a:r>
            <a:r>
              <a:rPr sz="2000" err="1">
                <a:solidFill>
                  <a:srgbClr val="FF0000"/>
                </a:solidFill>
              </a:rPr>
              <a:t>songez</a:t>
            </a:r>
            <a:r>
              <a:rPr sz="2000">
                <a:solidFill>
                  <a:srgbClr val="FF0000"/>
                </a:solidFill>
              </a:rPr>
              <a:t> </a:t>
            </a:r>
            <a:r>
              <a:rPr sz="2000" err="1">
                <a:solidFill>
                  <a:srgbClr val="FF0000"/>
                </a:solidFill>
              </a:rPr>
              <a:t>à</a:t>
            </a:r>
            <a:r>
              <a:rPr sz="2000">
                <a:solidFill>
                  <a:srgbClr val="FF0000"/>
                </a:solidFill>
              </a:rPr>
              <a:t> </a:t>
            </a:r>
            <a:r>
              <a:rPr sz="2000" err="1">
                <a:solidFill>
                  <a:srgbClr val="FF0000"/>
                </a:solidFill>
              </a:rPr>
              <a:t>vous</a:t>
            </a:r>
            <a:r>
              <a:rPr sz="2000">
                <a:solidFill>
                  <a:srgbClr val="FF0000"/>
                </a:solidFill>
              </a:rPr>
              <a:t> faire du mal </a:t>
            </a:r>
            <a:r>
              <a:rPr sz="2000" err="1">
                <a:solidFill>
                  <a:srgbClr val="FF0000"/>
                </a:solidFill>
              </a:rPr>
              <a:t>à</a:t>
            </a:r>
            <a:r>
              <a:rPr sz="2000">
                <a:solidFill>
                  <a:srgbClr val="FF0000"/>
                </a:solidFill>
              </a:rPr>
              <a:t> </a:t>
            </a:r>
            <a:r>
              <a:rPr sz="2000" err="1">
                <a:solidFill>
                  <a:srgbClr val="FF0000"/>
                </a:solidFill>
              </a:rPr>
              <a:t>vous-même</a:t>
            </a:r>
            <a:r>
              <a:rPr sz="2000">
                <a:solidFill>
                  <a:srgbClr val="FF0000"/>
                </a:solidFill>
              </a:rPr>
              <a:t> </a:t>
            </a:r>
            <a:r>
              <a:rPr sz="2000" err="1">
                <a:solidFill>
                  <a:srgbClr val="FF0000"/>
                </a:solidFill>
              </a:rPr>
              <a:t>ou</a:t>
            </a:r>
            <a:r>
              <a:rPr sz="2000">
                <a:solidFill>
                  <a:srgbClr val="FF0000"/>
                </a:solidFill>
              </a:rPr>
              <a:t> </a:t>
            </a:r>
            <a:r>
              <a:rPr sz="2000" err="1">
                <a:solidFill>
                  <a:srgbClr val="FF0000"/>
                </a:solidFill>
              </a:rPr>
              <a:t>à</a:t>
            </a:r>
            <a:r>
              <a:rPr sz="2000">
                <a:solidFill>
                  <a:srgbClr val="FF0000"/>
                </a:solidFill>
              </a:rPr>
              <a:t> </a:t>
            </a:r>
            <a:r>
              <a:rPr sz="2000" err="1">
                <a:solidFill>
                  <a:srgbClr val="FF0000"/>
                </a:solidFill>
              </a:rPr>
              <a:t>d’autres</a:t>
            </a:r>
            <a:r>
              <a:rPr sz="2000">
                <a:solidFill>
                  <a:srgbClr val="FF0000"/>
                </a:solidFill>
              </a:rPr>
              <a:t> </a:t>
            </a:r>
            <a:r>
              <a:rPr sz="2000" err="1">
                <a:solidFill>
                  <a:srgbClr val="FF0000"/>
                </a:solidFill>
              </a:rPr>
              <a:t>personnes</a:t>
            </a:r>
            <a:r>
              <a:rPr sz="2000">
                <a:solidFill>
                  <a:srgbClr val="FF0000"/>
                </a:solidFill>
              </a:rPr>
              <a:t>.</a:t>
            </a:r>
          </a:p>
          <a:p>
            <a:pPr lvl="1">
              <a:lnSpc>
                <a:spcPct val="100000"/>
              </a:lnSpc>
              <a:spcBef>
                <a:spcPts val="600"/>
              </a:spcBef>
              <a:spcAft>
                <a:spcPts val="600"/>
              </a:spcAft>
            </a:pPr>
            <a:r>
              <a:rPr sz="2000" err="1">
                <a:solidFill>
                  <a:schemeClr val="accent6">
                    <a:lumMod val="50000"/>
                  </a:schemeClr>
                </a:solidFill>
              </a:rPr>
              <a:t>L’aide</a:t>
            </a:r>
            <a:r>
              <a:rPr sz="2000">
                <a:solidFill>
                  <a:schemeClr val="accent6">
                    <a:lumMod val="50000"/>
                  </a:schemeClr>
                </a:solidFill>
              </a:rPr>
              <a:t> d'un </a:t>
            </a:r>
            <a:r>
              <a:rPr sz="2000" err="1">
                <a:solidFill>
                  <a:schemeClr val="accent6">
                    <a:lumMod val="50000"/>
                  </a:schemeClr>
                </a:solidFill>
              </a:rPr>
              <a:t>conseiller</a:t>
            </a:r>
            <a:r>
              <a:rPr sz="2000">
                <a:solidFill>
                  <a:schemeClr val="accent6">
                    <a:lumMod val="50000"/>
                  </a:schemeClr>
                </a:solidFill>
              </a:rPr>
              <a:t> </a:t>
            </a:r>
            <a:r>
              <a:rPr sz="2000" err="1">
                <a:solidFill>
                  <a:schemeClr val="accent6">
                    <a:lumMod val="50000"/>
                  </a:schemeClr>
                </a:solidFill>
              </a:rPr>
              <a:t>psychologue</a:t>
            </a:r>
            <a:r>
              <a:rPr sz="2000">
                <a:solidFill>
                  <a:schemeClr val="accent6">
                    <a:lumMod val="50000"/>
                  </a:schemeClr>
                </a:solidFill>
              </a:rPr>
              <a:t> </a:t>
            </a:r>
            <a:r>
              <a:rPr sz="2000" err="1">
                <a:solidFill>
                  <a:schemeClr val="accent6">
                    <a:lumMod val="50000"/>
                  </a:schemeClr>
                </a:solidFill>
              </a:rPr>
              <a:t>peut</a:t>
            </a:r>
            <a:r>
              <a:rPr sz="2000">
                <a:solidFill>
                  <a:schemeClr val="accent6">
                    <a:lumMod val="50000"/>
                  </a:schemeClr>
                </a:solidFill>
              </a:rPr>
              <a:t> </a:t>
            </a:r>
            <a:r>
              <a:rPr sz="2000" err="1">
                <a:solidFill>
                  <a:schemeClr val="accent6">
                    <a:lumMod val="50000"/>
                  </a:schemeClr>
                </a:solidFill>
              </a:rPr>
              <a:t>s’avérer</a:t>
            </a:r>
            <a:r>
              <a:rPr sz="2000">
                <a:solidFill>
                  <a:schemeClr val="accent6">
                    <a:lumMod val="50000"/>
                  </a:schemeClr>
                </a:solidFill>
              </a:rPr>
              <a:t> </a:t>
            </a:r>
            <a:r>
              <a:rPr sz="2000" err="1">
                <a:solidFill>
                  <a:schemeClr val="accent6">
                    <a:lumMod val="50000"/>
                  </a:schemeClr>
                </a:solidFill>
              </a:rPr>
              <a:t>précieuse</a:t>
            </a:r>
            <a:r>
              <a:rPr sz="2000">
                <a:solidFill>
                  <a:schemeClr val="accent6">
                    <a:lumMod val="50000"/>
                  </a:schemeClr>
                </a:solidFill>
              </a:rPr>
              <a:t> pour </a:t>
            </a:r>
            <a:r>
              <a:rPr sz="2000" err="1">
                <a:solidFill>
                  <a:schemeClr val="accent6">
                    <a:lumMod val="50000"/>
                  </a:schemeClr>
                </a:solidFill>
              </a:rPr>
              <a:t>surmonter</a:t>
            </a:r>
            <a:r>
              <a:rPr sz="2000">
                <a:solidFill>
                  <a:schemeClr val="accent6">
                    <a:lumMod val="50000"/>
                  </a:schemeClr>
                </a:solidFill>
              </a:rPr>
              <a:t> </a:t>
            </a:r>
            <a:r>
              <a:rPr sz="2000" err="1">
                <a:solidFill>
                  <a:schemeClr val="accent6">
                    <a:lumMod val="50000"/>
                  </a:schemeClr>
                </a:solidFill>
              </a:rPr>
              <a:t>diverses</a:t>
            </a:r>
            <a:r>
              <a:rPr sz="2000">
                <a:solidFill>
                  <a:schemeClr val="accent6">
                    <a:lumMod val="50000"/>
                  </a:schemeClr>
                </a:solidFill>
              </a:rPr>
              <a:t> </a:t>
            </a:r>
            <a:r>
              <a:rPr sz="2000" err="1">
                <a:solidFill>
                  <a:schemeClr val="accent6">
                    <a:lumMod val="50000"/>
                  </a:schemeClr>
                </a:solidFill>
              </a:rPr>
              <a:t>difficultés</a:t>
            </a:r>
            <a:r>
              <a:rPr sz="2000">
                <a:solidFill>
                  <a:schemeClr val="accent6">
                    <a:lumMod val="50000"/>
                  </a:schemeClr>
                </a:solidFill>
              </a:rPr>
              <a:t>.</a:t>
            </a:r>
          </a:p>
        </p:txBody>
      </p:sp>
    </p:spTree>
    <p:extLst>
      <p:ext uri="{BB962C8B-B14F-4D97-AF65-F5344CB8AC3E}">
        <p14:creationId xmlns:p14="http://schemas.microsoft.com/office/powerpoint/2010/main" val="2599765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3125BE3-B71C-0C45-A6FA-EA3B2E97E89A}"/>
              </a:ext>
            </a:extLst>
          </p:cNvPr>
          <p:cNvSpPr>
            <a:spLocks noGrp="1"/>
          </p:cNvSpPr>
          <p:nvPr>
            <p:ph type="body" sz="quarter" idx="10"/>
          </p:nvPr>
        </p:nvSpPr>
        <p:spPr>
          <a:xfrm>
            <a:off x="254579" y="1027422"/>
            <a:ext cx="8675666" cy="4850864"/>
          </a:xfrm>
        </p:spPr>
        <p:txBody>
          <a:bodyPr/>
          <a:lstStyle/>
          <a:p>
            <a:pPr marL="514350" indent="-514350">
              <a:lnSpc>
                <a:spcPct val="100000"/>
              </a:lnSpc>
              <a:spcBef>
                <a:spcPts val="600"/>
              </a:spcBef>
              <a:spcAft>
                <a:spcPts val="600"/>
              </a:spcAft>
              <a:buFont typeface="+mj-lt"/>
              <a:buAutoNum type="arabicPeriod" startAt="3"/>
            </a:pPr>
            <a:r>
              <a:rPr sz="2000">
                <a:solidFill>
                  <a:srgbClr val="FF0000"/>
                </a:solidFill>
              </a:rPr>
              <a:t>Le </a:t>
            </a:r>
            <a:r>
              <a:rPr sz="2000" err="1">
                <a:solidFill>
                  <a:srgbClr val="FF0000"/>
                </a:solidFill>
              </a:rPr>
              <a:t>conseil</a:t>
            </a:r>
            <a:r>
              <a:rPr sz="2000">
                <a:solidFill>
                  <a:srgbClr val="FF0000"/>
                </a:solidFill>
              </a:rPr>
              <a:t> </a:t>
            </a:r>
            <a:r>
              <a:rPr sz="2000" err="1">
                <a:solidFill>
                  <a:srgbClr val="FF0000"/>
                </a:solidFill>
              </a:rPr>
              <a:t>psychologique</a:t>
            </a:r>
            <a:r>
              <a:rPr sz="2000">
                <a:solidFill>
                  <a:srgbClr val="FF0000"/>
                </a:solidFill>
              </a:rPr>
              <a:t> </a:t>
            </a:r>
            <a:r>
              <a:rPr sz="2000" err="1">
                <a:solidFill>
                  <a:srgbClr val="FF0000"/>
                </a:solidFill>
              </a:rPr>
              <a:t>est</a:t>
            </a:r>
            <a:r>
              <a:rPr sz="2000">
                <a:solidFill>
                  <a:srgbClr val="FF0000"/>
                </a:solidFill>
              </a:rPr>
              <a:t> </a:t>
            </a:r>
            <a:r>
              <a:rPr sz="2000" err="1">
                <a:solidFill>
                  <a:srgbClr val="FF0000"/>
                </a:solidFill>
              </a:rPr>
              <a:t>une</a:t>
            </a:r>
            <a:r>
              <a:rPr sz="2000">
                <a:solidFill>
                  <a:srgbClr val="FF0000"/>
                </a:solidFill>
              </a:rPr>
              <a:t> </a:t>
            </a:r>
            <a:r>
              <a:rPr sz="2000" err="1">
                <a:solidFill>
                  <a:srgbClr val="FF0000"/>
                </a:solidFill>
              </a:rPr>
              <a:t>perte</a:t>
            </a:r>
            <a:r>
              <a:rPr sz="2000">
                <a:solidFill>
                  <a:srgbClr val="FF0000"/>
                </a:solidFill>
              </a:rPr>
              <a:t> de temps.</a:t>
            </a:r>
          </a:p>
          <a:p>
            <a:pPr lvl="1">
              <a:lnSpc>
                <a:spcPct val="100000"/>
              </a:lnSpc>
              <a:spcBef>
                <a:spcPts val="600"/>
              </a:spcBef>
              <a:spcAft>
                <a:spcPts val="600"/>
              </a:spcAft>
            </a:pPr>
            <a:r>
              <a:rPr sz="2000">
                <a:solidFill>
                  <a:schemeClr val="accent6">
                    <a:lumMod val="50000"/>
                  </a:schemeClr>
                </a:solidFill>
              </a:rPr>
              <a:t>Le temps passé </a:t>
            </a:r>
            <a:r>
              <a:rPr sz="2000" err="1">
                <a:solidFill>
                  <a:schemeClr val="accent6">
                    <a:lumMod val="50000"/>
                  </a:schemeClr>
                </a:solidFill>
              </a:rPr>
              <a:t>à</a:t>
            </a:r>
            <a:r>
              <a:rPr sz="2000">
                <a:solidFill>
                  <a:schemeClr val="accent6">
                    <a:lumMod val="50000"/>
                  </a:schemeClr>
                </a:solidFill>
              </a:rPr>
              <a:t> </a:t>
            </a:r>
            <a:r>
              <a:rPr sz="2000" err="1">
                <a:solidFill>
                  <a:schemeClr val="accent6">
                    <a:lumMod val="50000"/>
                  </a:schemeClr>
                </a:solidFill>
              </a:rPr>
              <a:t>réfléchir</a:t>
            </a:r>
            <a:r>
              <a:rPr sz="2000">
                <a:solidFill>
                  <a:schemeClr val="accent6">
                    <a:lumMod val="50000"/>
                  </a:schemeClr>
                </a:solidFill>
              </a:rPr>
              <a:t> </a:t>
            </a:r>
            <a:r>
              <a:rPr sz="2000" err="1">
                <a:solidFill>
                  <a:schemeClr val="accent6">
                    <a:lumMod val="50000"/>
                  </a:schemeClr>
                </a:solidFill>
              </a:rPr>
              <a:t>soigneusement</a:t>
            </a:r>
            <a:r>
              <a:rPr sz="2000">
                <a:solidFill>
                  <a:schemeClr val="accent6">
                    <a:lumMod val="50000"/>
                  </a:schemeClr>
                </a:solidFill>
              </a:rPr>
              <a:t> </a:t>
            </a:r>
            <a:r>
              <a:rPr sz="2000" err="1">
                <a:solidFill>
                  <a:schemeClr val="accent6">
                    <a:lumMod val="50000"/>
                  </a:schemeClr>
                </a:solidFill>
              </a:rPr>
              <a:t>à</a:t>
            </a:r>
            <a:r>
              <a:rPr sz="2000">
                <a:solidFill>
                  <a:schemeClr val="accent6">
                    <a:lumMod val="50000"/>
                  </a:schemeClr>
                </a:solidFill>
              </a:rPr>
              <a:t> </a:t>
            </a:r>
            <a:r>
              <a:rPr sz="2000" err="1">
                <a:solidFill>
                  <a:schemeClr val="accent6">
                    <a:lumMod val="50000"/>
                  </a:schemeClr>
                </a:solidFill>
              </a:rPr>
              <a:t>nos</a:t>
            </a:r>
            <a:r>
              <a:rPr sz="2000">
                <a:solidFill>
                  <a:schemeClr val="accent6">
                    <a:lumMod val="50000"/>
                  </a:schemeClr>
                </a:solidFill>
              </a:rPr>
              <a:t> </a:t>
            </a:r>
            <a:r>
              <a:rPr sz="2000" err="1">
                <a:solidFill>
                  <a:schemeClr val="accent6">
                    <a:lumMod val="50000"/>
                  </a:schemeClr>
                </a:solidFill>
              </a:rPr>
              <a:t>expériences</a:t>
            </a:r>
            <a:r>
              <a:rPr sz="2000">
                <a:solidFill>
                  <a:schemeClr val="accent6">
                    <a:lumMod val="50000"/>
                  </a:schemeClr>
                </a:solidFill>
              </a:rPr>
              <a:t>, </a:t>
            </a:r>
            <a:r>
              <a:rPr sz="2000" err="1">
                <a:solidFill>
                  <a:schemeClr val="accent6">
                    <a:lumMod val="50000"/>
                  </a:schemeClr>
                </a:solidFill>
              </a:rPr>
              <a:t>à</a:t>
            </a:r>
            <a:r>
              <a:rPr sz="2000">
                <a:solidFill>
                  <a:schemeClr val="accent6">
                    <a:lumMod val="50000"/>
                  </a:schemeClr>
                </a:solidFill>
              </a:rPr>
              <a:t> </a:t>
            </a:r>
            <a:r>
              <a:rPr sz="2000" err="1">
                <a:solidFill>
                  <a:schemeClr val="accent6">
                    <a:lumMod val="50000"/>
                  </a:schemeClr>
                </a:solidFill>
              </a:rPr>
              <a:t>nos</a:t>
            </a:r>
            <a:r>
              <a:rPr sz="2000">
                <a:solidFill>
                  <a:schemeClr val="accent6">
                    <a:lumMod val="50000"/>
                  </a:schemeClr>
                </a:solidFill>
              </a:rPr>
              <a:t> pensées, </a:t>
            </a:r>
            <a:r>
              <a:rPr sz="2000" err="1">
                <a:solidFill>
                  <a:schemeClr val="accent6">
                    <a:lumMod val="50000"/>
                  </a:schemeClr>
                </a:solidFill>
              </a:rPr>
              <a:t>à</a:t>
            </a:r>
            <a:r>
              <a:rPr sz="2000">
                <a:solidFill>
                  <a:schemeClr val="accent6">
                    <a:lumMod val="50000"/>
                  </a:schemeClr>
                </a:solidFill>
              </a:rPr>
              <a:t> </a:t>
            </a:r>
            <a:r>
              <a:rPr sz="2000" err="1">
                <a:solidFill>
                  <a:schemeClr val="accent6">
                    <a:lumMod val="50000"/>
                  </a:schemeClr>
                </a:solidFill>
              </a:rPr>
              <a:t>nos</a:t>
            </a:r>
            <a:r>
              <a:rPr sz="2000">
                <a:solidFill>
                  <a:schemeClr val="accent6">
                    <a:lumMod val="50000"/>
                  </a:schemeClr>
                </a:solidFill>
              </a:rPr>
              <a:t> </a:t>
            </a:r>
            <a:r>
              <a:rPr sz="2000" err="1">
                <a:solidFill>
                  <a:schemeClr val="accent6">
                    <a:lumMod val="50000"/>
                  </a:schemeClr>
                </a:solidFill>
              </a:rPr>
              <a:t>émotions</a:t>
            </a:r>
            <a:r>
              <a:rPr sz="2000">
                <a:solidFill>
                  <a:schemeClr val="accent6">
                    <a:lumMod val="50000"/>
                  </a:schemeClr>
                </a:solidFill>
              </a:rPr>
              <a:t>, </a:t>
            </a:r>
            <a:r>
              <a:rPr sz="2000" err="1">
                <a:solidFill>
                  <a:schemeClr val="accent6">
                    <a:lumMod val="50000"/>
                  </a:schemeClr>
                </a:solidFill>
              </a:rPr>
              <a:t>à</a:t>
            </a:r>
            <a:r>
              <a:rPr sz="2000">
                <a:solidFill>
                  <a:schemeClr val="accent6">
                    <a:lumMod val="50000"/>
                  </a:schemeClr>
                </a:solidFill>
              </a:rPr>
              <a:t> </a:t>
            </a:r>
            <a:r>
              <a:rPr sz="2000" err="1">
                <a:solidFill>
                  <a:schemeClr val="accent6">
                    <a:lumMod val="50000"/>
                  </a:schemeClr>
                </a:solidFill>
              </a:rPr>
              <a:t>nos</a:t>
            </a:r>
            <a:r>
              <a:rPr sz="2000">
                <a:solidFill>
                  <a:schemeClr val="accent6">
                    <a:lumMod val="50000"/>
                  </a:schemeClr>
                </a:solidFill>
              </a:rPr>
              <a:t> </a:t>
            </a:r>
            <a:r>
              <a:rPr sz="2000" err="1">
                <a:solidFill>
                  <a:schemeClr val="accent6">
                    <a:lumMod val="50000"/>
                  </a:schemeClr>
                </a:solidFill>
              </a:rPr>
              <a:t>objectifs</a:t>
            </a:r>
            <a:r>
              <a:rPr sz="2000">
                <a:solidFill>
                  <a:schemeClr val="accent6">
                    <a:lumMod val="50000"/>
                  </a:schemeClr>
                </a:solidFill>
              </a:rPr>
              <a:t> </a:t>
            </a:r>
            <a:r>
              <a:rPr sz="2000" err="1">
                <a:solidFill>
                  <a:schemeClr val="accent6">
                    <a:lumMod val="50000"/>
                  </a:schemeClr>
                </a:solidFill>
              </a:rPr>
              <a:t>à</a:t>
            </a:r>
            <a:r>
              <a:rPr sz="2000">
                <a:solidFill>
                  <a:schemeClr val="accent6">
                    <a:lumMod val="50000"/>
                  </a:schemeClr>
                </a:solidFill>
              </a:rPr>
              <a:t> </a:t>
            </a:r>
            <a:r>
              <a:rPr sz="2000" err="1">
                <a:solidFill>
                  <a:schemeClr val="accent6">
                    <a:lumMod val="50000"/>
                  </a:schemeClr>
                </a:solidFill>
              </a:rPr>
              <a:t>nos</a:t>
            </a:r>
            <a:r>
              <a:rPr sz="2000">
                <a:solidFill>
                  <a:schemeClr val="accent6">
                    <a:lumMod val="50000"/>
                  </a:schemeClr>
                </a:solidFill>
              </a:rPr>
              <a:t> intentions </a:t>
            </a:r>
            <a:r>
              <a:rPr sz="2000" err="1">
                <a:solidFill>
                  <a:schemeClr val="accent6">
                    <a:lumMod val="50000"/>
                  </a:schemeClr>
                </a:solidFill>
              </a:rPr>
              <a:t>est</a:t>
            </a:r>
            <a:r>
              <a:rPr sz="2000">
                <a:solidFill>
                  <a:schemeClr val="accent6">
                    <a:lumMod val="50000"/>
                  </a:schemeClr>
                </a:solidFill>
              </a:rPr>
              <a:t> </a:t>
            </a:r>
            <a:r>
              <a:rPr sz="2000" err="1">
                <a:solidFill>
                  <a:schemeClr val="accent6">
                    <a:lumMod val="50000"/>
                  </a:schemeClr>
                </a:solidFill>
              </a:rPr>
              <a:t>rarement</a:t>
            </a:r>
            <a:r>
              <a:rPr sz="2000">
                <a:solidFill>
                  <a:schemeClr val="accent6">
                    <a:lumMod val="50000"/>
                  </a:schemeClr>
                </a:solidFill>
              </a:rPr>
              <a:t> du temps </a:t>
            </a:r>
            <a:r>
              <a:rPr sz="2000" err="1">
                <a:solidFill>
                  <a:schemeClr val="accent6">
                    <a:lumMod val="50000"/>
                  </a:schemeClr>
                </a:solidFill>
              </a:rPr>
              <a:t>gâché</a:t>
            </a:r>
            <a:r>
              <a:rPr sz="2000">
                <a:solidFill>
                  <a:schemeClr val="accent6">
                    <a:lumMod val="50000"/>
                  </a:schemeClr>
                </a:solidFill>
              </a:rPr>
              <a:t>, </a:t>
            </a:r>
            <a:r>
              <a:rPr sz="2000" err="1">
                <a:solidFill>
                  <a:schemeClr val="accent6">
                    <a:lumMod val="50000"/>
                  </a:schemeClr>
                </a:solidFill>
              </a:rPr>
              <a:t>même</a:t>
            </a:r>
            <a:r>
              <a:rPr sz="2000">
                <a:solidFill>
                  <a:schemeClr val="accent6">
                    <a:lumMod val="50000"/>
                  </a:schemeClr>
                </a:solidFill>
              </a:rPr>
              <a:t> </a:t>
            </a:r>
            <a:r>
              <a:rPr sz="2000" err="1">
                <a:solidFill>
                  <a:schemeClr val="accent6">
                    <a:lumMod val="50000"/>
                  </a:schemeClr>
                </a:solidFill>
              </a:rPr>
              <a:t>si</a:t>
            </a:r>
            <a:r>
              <a:rPr sz="2000">
                <a:solidFill>
                  <a:schemeClr val="accent6">
                    <a:lumMod val="50000"/>
                  </a:schemeClr>
                </a:solidFill>
              </a:rPr>
              <a:t> le </a:t>
            </a:r>
            <a:r>
              <a:rPr sz="2000" err="1">
                <a:solidFill>
                  <a:schemeClr val="accent6">
                    <a:lumMod val="50000"/>
                  </a:schemeClr>
                </a:solidFill>
              </a:rPr>
              <a:t>processus</a:t>
            </a:r>
            <a:r>
              <a:rPr sz="2000">
                <a:solidFill>
                  <a:schemeClr val="accent6">
                    <a:lumMod val="50000"/>
                  </a:schemeClr>
                </a:solidFill>
              </a:rPr>
              <a:t> ne se </a:t>
            </a:r>
            <a:r>
              <a:rPr sz="2000" err="1">
                <a:solidFill>
                  <a:schemeClr val="accent6">
                    <a:lumMod val="50000"/>
                  </a:schemeClr>
                </a:solidFill>
              </a:rPr>
              <a:t>déroule</a:t>
            </a:r>
            <a:r>
              <a:rPr sz="2000">
                <a:solidFill>
                  <a:schemeClr val="accent6">
                    <a:lumMod val="50000"/>
                  </a:schemeClr>
                </a:solidFill>
              </a:rPr>
              <a:t> pas </a:t>
            </a:r>
            <a:r>
              <a:rPr sz="2000" err="1">
                <a:solidFill>
                  <a:schemeClr val="accent6">
                    <a:lumMod val="50000"/>
                  </a:schemeClr>
                </a:solidFill>
              </a:rPr>
              <a:t>comme</a:t>
            </a:r>
            <a:r>
              <a:rPr sz="2000">
                <a:solidFill>
                  <a:schemeClr val="accent6">
                    <a:lumMod val="50000"/>
                  </a:schemeClr>
                </a:solidFill>
              </a:rPr>
              <a:t> </a:t>
            </a:r>
            <a:r>
              <a:rPr sz="2000" err="1">
                <a:solidFill>
                  <a:schemeClr val="accent6">
                    <a:lumMod val="50000"/>
                  </a:schemeClr>
                </a:solidFill>
              </a:rPr>
              <a:t>prévu</a:t>
            </a:r>
            <a:r>
              <a:rPr sz="2000">
                <a:solidFill>
                  <a:schemeClr val="accent6">
                    <a:lumMod val="50000"/>
                  </a:schemeClr>
                </a:solidFill>
              </a:rPr>
              <a:t>. </a:t>
            </a:r>
          </a:p>
          <a:p>
            <a:pPr marL="514350" indent="-514350">
              <a:lnSpc>
                <a:spcPct val="100000"/>
              </a:lnSpc>
              <a:spcBef>
                <a:spcPts val="600"/>
              </a:spcBef>
              <a:spcAft>
                <a:spcPts val="600"/>
              </a:spcAft>
              <a:buFont typeface="+mj-lt"/>
              <a:buAutoNum type="arabicPeriod" startAt="4"/>
            </a:pPr>
            <a:r>
              <a:rPr sz="2000">
                <a:solidFill>
                  <a:srgbClr val="FF0000"/>
                </a:solidFill>
              </a:rPr>
              <a:t>« Je ne </a:t>
            </a:r>
            <a:r>
              <a:rPr sz="2000" err="1">
                <a:solidFill>
                  <a:srgbClr val="FF0000"/>
                </a:solidFill>
              </a:rPr>
              <a:t>peux</a:t>
            </a:r>
            <a:r>
              <a:rPr sz="2000">
                <a:solidFill>
                  <a:srgbClr val="FF0000"/>
                </a:solidFill>
              </a:rPr>
              <a:t> pas </a:t>
            </a:r>
            <a:r>
              <a:rPr sz="2000" err="1">
                <a:solidFill>
                  <a:srgbClr val="FF0000"/>
                </a:solidFill>
              </a:rPr>
              <a:t>confier</a:t>
            </a:r>
            <a:r>
              <a:rPr sz="2000">
                <a:solidFill>
                  <a:srgbClr val="FF0000"/>
                </a:solidFill>
              </a:rPr>
              <a:t> </a:t>
            </a:r>
            <a:r>
              <a:rPr sz="2000" err="1">
                <a:solidFill>
                  <a:srgbClr val="FF0000"/>
                </a:solidFill>
              </a:rPr>
              <a:t>mes</a:t>
            </a:r>
            <a:r>
              <a:rPr sz="2000">
                <a:solidFill>
                  <a:srgbClr val="FF0000"/>
                </a:solidFill>
              </a:rPr>
              <a:t> pensées et </a:t>
            </a:r>
            <a:r>
              <a:rPr sz="2000" err="1">
                <a:solidFill>
                  <a:srgbClr val="FF0000"/>
                </a:solidFill>
              </a:rPr>
              <a:t>mes</a:t>
            </a:r>
            <a:r>
              <a:rPr sz="2000">
                <a:solidFill>
                  <a:srgbClr val="FF0000"/>
                </a:solidFill>
              </a:rPr>
              <a:t> </a:t>
            </a:r>
            <a:r>
              <a:rPr sz="2000" err="1">
                <a:solidFill>
                  <a:srgbClr val="FF0000"/>
                </a:solidFill>
              </a:rPr>
              <a:t>émotions</a:t>
            </a:r>
            <a:r>
              <a:rPr sz="2000">
                <a:solidFill>
                  <a:srgbClr val="FF0000"/>
                </a:solidFill>
              </a:rPr>
              <a:t> </a:t>
            </a:r>
            <a:r>
              <a:rPr sz="2000" err="1">
                <a:solidFill>
                  <a:srgbClr val="FF0000"/>
                </a:solidFill>
              </a:rPr>
              <a:t>intimes</a:t>
            </a:r>
            <a:r>
              <a:rPr sz="2000">
                <a:solidFill>
                  <a:srgbClr val="FF0000"/>
                </a:solidFill>
              </a:rPr>
              <a:t> </a:t>
            </a:r>
            <a:r>
              <a:rPr sz="2000" err="1">
                <a:solidFill>
                  <a:srgbClr val="FF0000"/>
                </a:solidFill>
              </a:rPr>
              <a:t>à</a:t>
            </a:r>
            <a:r>
              <a:rPr sz="2000">
                <a:solidFill>
                  <a:srgbClr val="FF0000"/>
                </a:solidFill>
              </a:rPr>
              <a:t> un</a:t>
            </a:r>
            <a:r>
              <a:rPr lang="en-GB" sz="2000">
                <a:solidFill>
                  <a:srgbClr val="FF0000"/>
                </a:solidFill>
              </a:rPr>
              <a:t> </a:t>
            </a:r>
            <a:r>
              <a:rPr sz="2000" err="1">
                <a:solidFill>
                  <a:srgbClr val="FF0000"/>
                </a:solidFill>
              </a:rPr>
              <a:t>étranger</a:t>
            </a:r>
            <a:r>
              <a:rPr sz="2000">
                <a:solidFill>
                  <a:srgbClr val="FF0000"/>
                </a:solidFill>
              </a:rPr>
              <a:t>. »</a:t>
            </a:r>
          </a:p>
          <a:p>
            <a:pPr lvl="1">
              <a:lnSpc>
                <a:spcPct val="100000"/>
              </a:lnSpc>
              <a:spcBef>
                <a:spcPts val="600"/>
              </a:spcBef>
              <a:spcAft>
                <a:spcPts val="600"/>
              </a:spcAft>
            </a:pPr>
            <a:r>
              <a:rPr sz="2000">
                <a:solidFill>
                  <a:schemeClr val="accent6">
                    <a:lumMod val="50000"/>
                  </a:schemeClr>
                </a:solidFill>
              </a:rPr>
              <a:t>Il </a:t>
            </a:r>
            <a:r>
              <a:rPr sz="2000" err="1">
                <a:solidFill>
                  <a:schemeClr val="accent6">
                    <a:lumMod val="50000"/>
                  </a:schemeClr>
                </a:solidFill>
              </a:rPr>
              <a:t>est</a:t>
            </a:r>
            <a:r>
              <a:rPr sz="2000">
                <a:solidFill>
                  <a:schemeClr val="accent6">
                    <a:lumMod val="50000"/>
                  </a:schemeClr>
                </a:solidFill>
              </a:rPr>
              <a:t> </a:t>
            </a:r>
            <a:r>
              <a:rPr sz="2000" err="1">
                <a:solidFill>
                  <a:schemeClr val="accent6">
                    <a:lumMod val="50000"/>
                  </a:schemeClr>
                </a:solidFill>
              </a:rPr>
              <a:t>parfois</a:t>
            </a:r>
            <a:r>
              <a:rPr sz="2000">
                <a:solidFill>
                  <a:schemeClr val="accent6">
                    <a:lumMod val="50000"/>
                  </a:schemeClr>
                </a:solidFill>
              </a:rPr>
              <a:t> plus facile de </a:t>
            </a:r>
            <a:r>
              <a:rPr sz="2000" err="1">
                <a:solidFill>
                  <a:schemeClr val="accent6">
                    <a:lumMod val="50000"/>
                  </a:schemeClr>
                </a:solidFill>
              </a:rPr>
              <a:t>partager</a:t>
            </a:r>
            <a:r>
              <a:rPr sz="2000">
                <a:solidFill>
                  <a:schemeClr val="accent6">
                    <a:lumMod val="50000"/>
                  </a:schemeClr>
                </a:solidFill>
              </a:rPr>
              <a:t> </a:t>
            </a:r>
            <a:r>
              <a:rPr sz="2000" err="1">
                <a:solidFill>
                  <a:schemeClr val="accent6">
                    <a:lumMod val="50000"/>
                  </a:schemeClr>
                </a:solidFill>
              </a:rPr>
              <a:t>nos</a:t>
            </a:r>
            <a:r>
              <a:rPr sz="2000">
                <a:solidFill>
                  <a:schemeClr val="accent6">
                    <a:lumMod val="50000"/>
                  </a:schemeClr>
                </a:solidFill>
              </a:rPr>
              <a:t> </a:t>
            </a:r>
            <a:r>
              <a:rPr sz="2000" err="1">
                <a:solidFill>
                  <a:schemeClr val="accent6">
                    <a:lumMod val="50000"/>
                  </a:schemeClr>
                </a:solidFill>
              </a:rPr>
              <a:t>problèmes</a:t>
            </a:r>
            <a:r>
              <a:rPr sz="2000">
                <a:solidFill>
                  <a:schemeClr val="accent6">
                    <a:lumMod val="50000"/>
                  </a:schemeClr>
                </a:solidFill>
              </a:rPr>
              <a:t> </a:t>
            </a:r>
            <a:r>
              <a:rPr sz="2000" err="1">
                <a:solidFill>
                  <a:schemeClr val="accent6">
                    <a:lumMod val="50000"/>
                  </a:schemeClr>
                </a:solidFill>
              </a:rPr>
              <a:t>ou</a:t>
            </a:r>
            <a:r>
              <a:rPr sz="2000">
                <a:solidFill>
                  <a:schemeClr val="accent6">
                    <a:lumMod val="50000"/>
                  </a:schemeClr>
                </a:solidFill>
              </a:rPr>
              <a:t> pensées </a:t>
            </a:r>
            <a:r>
              <a:rPr sz="2000" err="1">
                <a:solidFill>
                  <a:schemeClr val="accent6">
                    <a:lumMod val="50000"/>
                  </a:schemeClr>
                </a:solidFill>
              </a:rPr>
              <a:t>ou</a:t>
            </a:r>
            <a:r>
              <a:rPr sz="2000">
                <a:solidFill>
                  <a:schemeClr val="accent6">
                    <a:lumMod val="50000"/>
                  </a:schemeClr>
                </a:solidFill>
              </a:rPr>
              <a:t> </a:t>
            </a:r>
            <a:r>
              <a:rPr sz="2000" err="1">
                <a:solidFill>
                  <a:schemeClr val="accent6">
                    <a:lumMod val="50000"/>
                  </a:schemeClr>
                </a:solidFill>
              </a:rPr>
              <a:t>émotions</a:t>
            </a:r>
            <a:r>
              <a:rPr sz="2000">
                <a:solidFill>
                  <a:schemeClr val="accent6">
                    <a:lumMod val="50000"/>
                  </a:schemeClr>
                </a:solidFill>
              </a:rPr>
              <a:t> </a:t>
            </a:r>
            <a:r>
              <a:rPr sz="2000" err="1">
                <a:solidFill>
                  <a:schemeClr val="accent6">
                    <a:lumMod val="50000"/>
                  </a:schemeClr>
                </a:solidFill>
              </a:rPr>
              <a:t>difficiles</a:t>
            </a:r>
            <a:r>
              <a:rPr sz="2000">
                <a:solidFill>
                  <a:schemeClr val="accent6">
                    <a:lumMod val="50000"/>
                  </a:schemeClr>
                </a:solidFill>
              </a:rPr>
              <a:t> avec </a:t>
            </a:r>
            <a:r>
              <a:rPr sz="2000" err="1">
                <a:solidFill>
                  <a:schemeClr val="accent6">
                    <a:lumMod val="50000"/>
                  </a:schemeClr>
                </a:solidFill>
              </a:rPr>
              <a:t>une</a:t>
            </a:r>
            <a:r>
              <a:rPr sz="2000">
                <a:solidFill>
                  <a:schemeClr val="accent6">
                    <a:lumMod val="50000"/>
                  </a:schemeClr>
                </a:solidFill>
              </a:rPr>
              <a:t> </a:t>
            </a:r>
            <a:r>
              <a:rPr sz="2000" err="1">
                <a:solidFill>
                  <a:schemeClr val="accent6">
                    <a:lumMod val="50000"/>
                  </a:schemeClr>
                </a:solidFill>
              </a:rPr>
              <a:t>personne</a:t>
            </a:r>
            <a:r>
              <a:rPr sz="2000">
                <a:solidFill>
                  <a:schemeClr val="accent6">
                    <a:lumMod val="50000"/>
                  </a:schemeClr>
                </a:solidFill>
              </a:rPr>
              <a:t> que nous ne </a:t>
            </a:r>
            <a:r>
              <a:rPr sz="2000" err="1">
                <a:solidFill>
                  <a:schemeClr val="accent6">
                    <a:lumMod val="50000"/>
                  </a:schemeClr>
                </a:solidFill>
              </a:rPr>
              <a:t>connaissons</a:t>
            </a:r>
            <a:r>
              <a:rPr sz="2000">
                <a:solidFill>
                  <a:schemeClr val="accent6">
                    <a:lumMod val="50000"/>
                  </a:schemeClr>
                </a:solidFill>
              </a:rPr>
              <a:t> pas bien. Un </a:t>
            </a:r>
            <a:r>
              <a:rPr sz="2000" err="1">
                <a:solidFill>
                  <a:schemeClr val="accent6">
                    <a:lumMod val="50000"/>
                  </a:schemeClr>
                </a:solidFill>
              </a:rPr>
              <a:t>étranger</a:t>
            </a:r>
            <a:r>
              <a:rPr sz="2000">
                <a:solidFill>
                  <a:schemeClr val="accent6">
                    <a:lumMod val="50000"/>
                  </a:schemeClr>
                </a:solidFill>
              </a:rPr>
              <a:t> </a:t>
            </a:r>
            <a:r>
              <a:rPr sz="2000" err="1">
                <a:solidFill>
                  <a:schemeClr val="accent6">
                    <a:lumMod val="50000"/>
                  </a:schemeClr>
                </a:solidFill>
              </a:rPr>
              <a:t>peut</a:t>
            </a:r>
            <a:r>
              <a:rPr sz="2000">
                <a:solidFill>
                  <a:schemeClr val="accent6">
                    <a:lumMod val="50000"/>
                  </a:schemeClr>
                </a:solidFill>
              </a:rPr>
              <a:t> nous </a:t>
            </a:r>
            <a:r>
              <a:rPr sz="2000" err="1">
                <a:solidFill>
                  <a:schemeClr val="accent6">
                    <a:lumMod val="50000"/>
                  </a:schemeClr>
                </a:solidFill>
              </a:rPr>
              <a:t>apporter</a:t>
            </a:r>
            <a:r>
              <a:rPr sz="2000">
                <a:solidFill>
                  <a:schemeClr val="accent6">
                    <a:lumMod val="50000"/>
                  </a:schemeClr>
                </a:solidFill>
              </a:rPr>
              <a:t> un point de </a:t>
            </a:r>
            <a:r>
              <a:rPr sz="2000" err="1">
                <a:solidFill>
                  <a:schemeClr val="accent6">
                    <a:lumMod val="50000"/>
                  </a:schemeClr>
                </a:solidFill>
              </a:rPr>
              <a:t>vue</a:t>
            </a:r>
            <a:r>
              <a:rPr sz="2000">
                <a:solidFill>
                  <a:schemeClr val="accent6">
                    <a:lumMod val="50000"/>
                  </a:schemeClr>
                </a:solidFill>
              </a:rPr>
              <a:t> </a:t>
            </a:r>
            <a:r>
              <a:rPr sz="2000" err="1">
                <a:solidFill>
                  <a:schemeClr val="accent6">
                    <a:lumMod val="50000"/>
                  </a:schemeClr>
                </a:solidFill>
              </a:rPr>
              <a:t>neutre</a:t>
            </a:r>
            <a:r>
              <a:rPr sz="2000">
                <a:solidFill>
                  <a:schemeClr val="accent6">
                    <a:lumMod val="50000"/>
                  </a:schemeClr>
                </a:solidFill>
              </a:rPr>
              <a:t> </a:t>
            </a:r>
            <a:r>
              <a:rPr sz="2000" err="1">
                <a:solidFill>
                  <a:schemeClr val="accent6">
                    <a:lumMod val="50000"/>
                  </a:schemeClr>
                </a:solidFill>
              </a:rPr>
              <a:t>ou</a:t>
            </a:r>
            <a:r>
              <a:rPr sz="2000">
                <a:solidFill>
                  <a:schemeClr val="accent6">
                    <a:lumMod val="50000"/>
                  </a:schemeClr>
                </a:solidFill>
              </a:rPr>
              <a:t> </a:t>
            </a:r>
            <a:r>
              <a:rPr sz="2000" err="1">
                <a:solidFill>
                  <a:schemeClr val="accent6">
                    <a:lumMod val="50000"/>
                  </a:schemeClr>
                </a:solidFill>
              </a:rPr>
              <a:t>différent</a:t>
            </a:r>
            <a:r>
              <a:rPr sz="2000">
                <a:solidFill>
                  <a:schemeClr val="accent6">
                    <a:lumMod val="50000"/>
                  </a:schemeClr>
                </a:solidFill>
              </a:rPr>
              <a:t> sur </a:t>
            </a:r>
            <a:r>
              <a:rPr sz="2000" err="1">
                <a:solidFill>
                  <a:schemeClr val="accent6">
                    <a:lumMod val="50000"/>
                  </a:schemeClr>
                </a:solidFill>
              </a:rPr>
              <a:t>nos</a:t>
            </a:r>
            <a:r>
              <a:rPr sz="2000">
                <a:solidFill>
                  <a:schemeClr val="accent6">
                    <a:lumMod val="50000"/>
                  </a:schemeClr>
                </a:solidFill>
              </a:rPr>
              <a:t> </a:t>
            </a:r>
            <a:r>
              <a:rPr sz="2000" err="1">
                <a:solidFill>
                  <a:schemeClr val="accent6">
                    <a:lumMod val="50000"/>
                  </a:schemeClr>
                </a:solidFill>
              </a:rPr>
              <a:t>problèmes</a:t>
            </a:r>
            <a:r>
              <a:rPr sz="2000">
                <a:solidFill>
                  <a:schemeClr val="accent6">
                    <a:lumMod val="50000"/>
                  </a:schemeClr>
                </a:solidFill>
              </a:rPr>
              <a:t>. De </a:t>
            </a:r>
            <a:r>
              <a:rPr sz="2000" err="1">
                <a:solidFill>
                  <a:schemeClr val="accent6">
                    <a:lumMod val="50000"/>
                  </a:schemeClr>
                </a:solidFill>
              </a:rPr>
              <a:t>même</a:t>
            </a:r>
            <a:r>
              <a:rPr sz="2000">
                <a:solidFill>
                  <a:schemeClr val="accent6">
                    <a:lumMod val="50000"/>
                  </a:schemeClr>
                </a:solidFill>
              </a:rPr>
              <a:t>, </a:t>
            </a:r>
            <a:r>
              <a:rPr sz="2000" err="1">
                <a:solidFill>
                  <a:schemeClr val="accent6">
                    <a:lumMod val="50000"/>
                  </a:schemeClr>
                </a:solidFill>
              </a:rPr>
              <a:t>contrairement</a:t>
            </a:r>
            <a:r>
              <a:rPr sz="2000">
                <a:solidFill>
                  <a:schemeClr val="accent6">
                    <a:lumMod val="50000"/>
                  </a:schemeClr>
                </a:solidFill>
              </a:rPr>
              <a:t> aux conversations </a:t>
            </a:r>
            <a:r>
              <a:rPr sz="2000" err="1">
                <a:solidFill>
                  <a:schemeClr val="accent6">
                    <a:lumMod val="50000"/>
                  </a:schemeClr>
                </a:solidFill>
              </a:rPr>
              <a:t>normales</a:t>
            </a:r>
            <a:r>
              <a:rPr sz="2000">
                <a:solidFill>
                  <a:schemeClr val="accent6">
                    <a:lumMod val="50000"/>
                  </a:schemeClr>
                </a:solidFill>
              </a:rPr>
              <a:t>, le </a:t>
            </a:r>
            <a:r>
              <a:rPr sz="2000" err="1">
                <a:solidFill>
                  <a:schemeClr val="accent6">
                    <a:lumMod val="50000"/>
                  </a:schemeClr>
                </a:solidFill>
              </a:rPr>
              <a:t>conseil</a:t>
            </a:r>
            <a:r>
              <a:rPr sz="2000">
                <a:solidFill>
                  <a:schemeClr val="accent6">
                    <a:lumMod val="50000"/>
                  </a:schemeClr>
                </a:solidFill>
              </a:rPr>
              <a:t> </a:t>
            </a:r>
            <a:r>
              <a:rPr sz="2000" err="1">
                <a:solidFill>
                  <a:schemeClr val="accent6">
                    <a:lumMod val="50000"/>
                  </a:schemeClr>
                </a:solidFill>
              </a:rPr>
              <a:t>psychologique</a:t>
            </a:r>
            <a:r>
              <a:rPr sz="2000">
                <a:solidFill>
                  <a:schemeClr val="accent6">
                    <a:lumMod val="50000"/>
                  </a:schemeClr>
                </a:solidFill>
              </a:rPr>
              <a:t> ne </a:t>
            </a:r>
            <a:r>
              <a:rPr sz="2000" err="1">
                <a:solidFill>
                  <a:schemeClr val="accent6">
                    <a:lumMod val="50000"/>
                  </a:schemeClr>
                </a:solidFill>
              </a:rPr>
              <a:t>nécessite</a:t>
            </a:r>
            <a:r>
              <a:rPr sz="2000">
                <a:solidFill>
                  <a:schemeClr val="accent6">
                    <a:lumMod val="50000"/>
                  </a:schemeClr>
                </a:solidFill>
              </a:rPr>
              <a:t> pas de </a:t>
            </a:r>
            <a:r>
              <a:rPr sz="2000" err="1">
                <a:solidFill>
                  <a:schemeClr val="accent6">
                    <a:lumMod val="50000"/>
                  </a:schemeClr>
                </a:solidFill>
              </a:rPr>
              <a:t>réciprocité</a:t>
            </a:r>
            <a:r>
              <a:rPr sz="2000">
                <a:solidFill>
                  <a:schemeClr val="accent6">
                    <a:lumMod val="50000"/>
                  </a:schemeClr>
                </a:solidFill>
              </a:rPr>
              <a:t>. </a:t>
            </a:r>
            <a:r>
              <a:rPr sz="2000" err="1">
                <a:solidFill>
                  <a:schemeClr val="accent6">
                    <a:lumMod val="50000"/>
                  </a:schemeClr>
                </a:solidFill>
              </a:rPr>
              <a:t>L'objectif</a:t>
            </a:r>
            <a:r>
              <a:rPr sz="2000">
                <a:solidFill>
                  <a:schemeClr val="accent6">
                    <a:lumMod val="50000"/>
                  </a:schemeClr>
                </a:solidFill>
              </a:rPr>
              <a:t> global du </a:t>
            </a:r>
            <a:r>
              <a:rPr sz="2000" err="1">
                <a:solidFill>
                  <a:schemeClr val="accent6">
                    <a:lumMod val="50000"/>
                  </a:schemeClr>
                </a:solidFill>
              </a:rPr>
              <a:t>conseiller</a:t>
            </a:r>
            <a:r>
              <a:rPr sz="2000">
                <a:solidFill>
                  <a:schemeClr val="accent6">
                    <a:lumMod val="50000"/>
                  </a:schemeClr>
                </a:solidFill>
              </a:rPr>
              <a:t> </a:t>
            </a:r>
            <a:r>
              <a:rPr sz="2000" err="1">
                <a:solidFill>
                  <a:schemeClr val="accent6">
                    <a:lumMod val="50000"/>
                  </a:schemeClr>
                </a:solidFill>
              </a:rPr>
              <a:t>psychologue</a:t>
            </a:r>
            <a:r>
              <a:rPr sz="2000">
                <a:solidFill>
                  <a:schemeClr val="accent6">
                    <a:lumMod val="50000"/>
                  </a:schemeClr>
                </a:solidFill>
              </a:rPr>
              <a:t> </a:t>
            </a:r>
            <a:r>
              <a:rPr sz="2000" err="1">
                <a:solidFill>
                  <a:schemeClr val="accent6">
                    <a:lumMod val="50000"/>
                  </a:schemeClr>
                </a:solidFill>
              </a:rPr>
              <a:t>est</a:t>
            </a:r>
            <a:r>
              <a:rPr sz="2000">
                <a:solidFill>
                  <a:schemeClr val="accent6">
                    <a:lumMod val="50000"/>
                  </a:schemeClr>
                </a:solidFill>
              </a:rPr>
              <a:t> de </a:t>
            </a:r>
            <a:r>
              <a:rPr sz="2000" err="1">
                <a:solidFill>
                  <a:schemeClr val="accent6">
                    <a:lumMod val="50000"/>
                  </a:schemeClr>
                </a:solidFill>
              </a:rPr>
              <a:t>vous</a:t>
            </a:r>
            <a:r>
              <a:rPr sz="2000">
                <a:solidFill>
                  <a:schemeClr val="accent6">
                    <a:lumMod val="50000"/>
                  </a:schemeClr>
                </a:solidFill>
              </a:rPr>
              <a:t> </a:t>
            </a:r>
            <a:r>
              <a:rPr sz="2000" err="1">
                <a:solidFill>
                  <a:schemeClr val="accent6">
                    <a:lumMod val="50000"/>
                  </a:schemeClr>
                </a:solidFill>
              </a:rPr>
              <a:t>écouter</a:t>
            </a:r>
            <a:r>
              <a:rPr sz="2000">
                <a:solidFill>
                  <a:schemeClr val="accent6">
                    <a:lumMod val="50000"/>
                  </a:schemeClr>
                </a:solidFill>
              </a:rPr>
              <a:t> et </a:t>
            </a:r>
            <a:r>
              <a:rPr sz="2000" err="1">
                <a:solidFill>
                  <a:schemeClr val="accent6">
                    <a:lumMod val="50000"/>
                  </a:schemeClr>
                </a:solidFill>
              </a:rPr>
              <a:t>d’essayer</a:t>
            </a:r>
            <a:r>
              <a:rPr sz="2000">
                <a:solidFill>
                  <a:schemeClr val="accent6">
                    <a:lumMod val="50000"/>
                  </a:schemeClr>
                </a:solidFill>
              </a:rPr>
              <a:t> de </a:t>
            </a:r>
            <a:r>
              <a:rPr sz="2000" err="1">
                <a:solidFill>
                  <a:schemeClr val="accent6">
                    <a:lumMod val="50000"/>
                  </a:schemeClr>
                </a:solidFill>
              </a:rPr>
              <a:t>vous</a:t>
            </a:r>
            <a:r>
              <a:rPr sz="2000">
                <a:solidFill>
                  <a:schemeClr val="accent6">
                    <a:lumMod val="50000"/>
                  </a:schemeClr>
                </a:solidFill>
              </a:rPr>
              <a:t> aider. Il </a:t>
            </a:r>
            <a:r>
              <a:rPr sz="2000" err="1">
                <a:solidFill>
                  <a:schemeClr val="accent6">
                    <a:lumMod val="50000"/>
                  </a:schemeClr>
                </a:solidFill>
              </a:rPr>
              <a:t>est</a:t>
            </a:r>
            <a:r>
              <a:rPr sz="2000">
                <a:solidFill>
                  <a:schemeClr val="accent6">
                    <a:lumMod val="50000"/>
                  </a:schemeClr>
                </a:solidFill>
              </a:rPr>
              <a:t> </a:t>
            </a:r>
            <a:r>
              <a:rPr sz="2000" err="1">
                <a:solidFill>
                  <a:schemeClr val="accent6">
                    <a:lumMod val="50000"/>
                  </a:schemeClr>
                </a:solidFill>
              </a:rPr>
              <a:t>là</a:t>
            </a:r>
            <a:r>
              <a:rPr sz="2000">
                <a:solidFill>
                  <a:schemeClr val="accent6">
                    <a:lumMod val="50000"/>
                  </a:schemeClr>
                </a:solidFill>
              </a:rPr>
              <a:t> pour </a:t>
            </a:r>
            <a:r>
              <a:rPr sz="2000" err="1">
                <a:solidFill>
                  <a:schemeClr val="accent6">
                    <a:lumMod val="50000"/>
                  </a:schemeClr>
                </a:solidFill>
              </a:rPr>
              <a:t>vous</a:t>
            </a:r>
            <a:r>
              <a:rPr sz="2000">
                <a:solidFill>
                  <a:schemeClr val="accent6">
                    <a:lumMod val="50000"/>
                  </a:schemeClr>
                </a:solidFill>
              </a:rPr>
              <a:t> </a:t>
            </a:r>
            <a:r>
              <a:rPr sz="2000" err="1">
                <a:solidFill>
                  <a:schemeClr val="accent6">
                    <a:lumMod val="50000"/>
                  </a:schemeClr>
                </a:solidFill>
              </a:rPr>
              <a:t>seul</a:t>
            </a:r>
            <a:r>
              <a:rPr sz="2000">
                <a:solidFill>
                  <a:schemeClr val="accent6">
                    <a:lumMod val="50000"/>
                  </a:schemeClr>
                </a:solidFill>
              </a:rPr>
              <a:t>.  </a:t>
            </a:r>
            <a:endParaRPr lang="en-US" sz="2000">
              <a:solidFill>
                <a:schemeClr val="accent6">
                  <a:lumMod val="50000"/>
                </a:schemeClr>
              </a:solidFill>
            </a:endParaRPr>
          </a:p>
          <a:p>
            <a:pPr>
              <a:spcBef>
                <a:spcPts val="300"/>
              </a:spcBef>
              <a:spcAft>
                <a:spcPts val="300"/>
              </a:spcAft>
            </a:pPr>
            <a:endParaRPr lang="en-US" sz="2000"/>
          </a:p>
        </p:txBody>
      </p:sp>
      <p:sp>
        <p:nvSpPr>
          <p:cNvPr id="4" name="Title 1">
            <a:extLst>
              <a:ext uri="{FF2B5EF4-FFF2-40B4-BE49-F238E27FC236}">
                <a16:creationId xmlns:a16="http://schemas.microsoft.com/office/drawing/2014/main" id="{D26DBDE6-1DF3-8747-B360-A6B0F9FF7D54}"/>
              </a:ext>
            </a:extLst>
          </p:cNvPr>
          <p:cNvSpPr>
            <a:spLocks noGrp="1"/>
          </p:cNvSpPr>
          <p:nvPr>
            <p:ph type="title"/>
          </p:nvPr>
        </p:nvSpPr>
        <p:spPr>
          <a:xfrm>
            <a:off x="171449" y="136526"/>
            <a:ext cx="8758795" cy="611619"/>
          </a:xfrm>
        </p:spPr>
        <p:txBody>
          <a:bodyPr/>
          <a:lstStyle/>
          <a:p>
            <a:r>
              <a:rPr err="1"/>
              <a:t>Mythes</a:t>
            </a:r>
            <a:r>
              <a:t> courants </a:t>
            </a:r>
            <a:r>
              <a:rPr err="1"/>
              <a:t>à</a:t>
            </a:r>
            <a:r>
              <a:t> </a:t>
            </a:r>
            <a:r>
              <a:rPr err="1"/>
              <a:t>propos</a:t>
            </a:r>
            <a:r>
              <a:t> du </a:t>
            </a:r>
            <a:r>
              <a:rPr err="1"/>
              <a:t>conseil</a:t>
            </a:r>
            <a:r>
              <a:t> </a:t>
            </a:r>
            <a:r>
              <a:rPr err="1"/>
              <a:t>psychologique</a:t>
            </a:r>
            <a:endParaRPr/>
          </a:p>
        </p:txBody>
      </p:sp>
    </p:spTree>
    <p:extLst>
      <p:ext uri="{BB962C8B-B14F-4D97-AF65-F5344CB8AC3E}">
        <p14:creationId xmlns:p14="http://schemas.microsoft.com/office/powerpoint/2010/main" val="2779131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3125BE3-B71C-0C45-A6FA-EA3B2E97E89A}"/>
              </a:ext>
            </a:extLst>
          </p:cNvPr>
          <p:cNvSpPr>
            <a:spLocks noGrp="1"/>
          </p:cNvSpPr>
          <p:nvPr>
            <p:ph type="body" sz="quarter" idx="10"/>
          </p:nvPr>
        </p:nvSpPr>
        <p:spPr>
          <a:xfrm>
            <a:off x="254579" y="1027422"/>
            <a:ext cx="8675666" cy="4850864"/>
          </a:xfrm>
        </p:spPr>
        <p:txBody>
          <a:bodyPr/>
          <a:lstStyle/>
          <a:p>
            <a:pPr marL="514350" indent="-514350">
              <a:lnSpc>
                <a:spcPct val="100000"/>
              </a:lnSpc>
              <a:spcBef>
                <a:spcPts val="600"/>
              </a:spcBef>
              <a:spcAft>
                <a:spcPts val="600"/>
              </a:spcAft>
              <a:buFont typeface="+mj-lt"/>
              <a:buAutoNum type="arabicPeriod" startAt="5"/>
            </a:pPr>
            <a:r>
              <a:rPr sz="2000">
                <a:solidFill>
                  <a:srgbClr val="FF0000"/>
                </a:solidFill>
              </a:rPr>
              <a:t>« Le </a:t>
            </a:r>
            <a:r>
              <a:rPr sz="2000" err="1">
                <a:solidFill>
                  <a:srgbClr val="FF0000"/>
                </a:solidFill>
              </a:rPr>
              <a:t>conseiller</a:t>
            </a:r>
            <a:r>
              <a:rPr sz="2000">
                <a:solidFill>
                  <a:srgbClr val="FF0000"/>
                </a:solidFill>
              </a:rPr>
              <a:t> </a:t>
            </a:r>
            <a:r>
              <a:rPr sz="2000" err="1">
                <a:solidFill>
                  <a:srgbClr val="FF0000"/>
                </a:solidFill>
              </a:rPr>
              <a:t>psychologue</a:t>
            </a:r>
            <a:r>
              <a:rPr sz="2000">
                <a:solidFill>
                  <a:srgbClr val="FF0000"/>
                </a:solidFill>
              </a:rPr>
              <a:t> me </a:t>
            </a:r>
            <a:r>
              <a:rPr sz="2000" err="1">
                <a:solidFill>
                  <a:srgbClr val="FF0000"/>
                </a:solidFill>
              </a:rPr>
              <a:t>jugera</a:t>
            </a:r>
            <a:r>
              <a:rPr sz="2000">
                <a:solidFill>
                  <a:srgbClr val="FF0000"/>
                </a:solidFill>
              </a:rPr>
              <a:t> pour </a:t>
            </a:r>
            <a:r>
              <a:rPr sz="2000" err="1">
                <a:solidFill>
                  <a:srgbClr val="FF0000"/>
                </a:solidFill>
              </a:rPr>
              <a:t>tous</a:t>
            </a:r>
            <a:r>
              <a:rPr sz="2000">
                <a:solidFill>
                  <a:srgbClr val="FF0000"/>
                </a:solidFill>
              </a:rPr>
              <a:t> </a:t>
            </a:r>
            <a:r>
              <a:rPr sz="2000" err="1">
                <a:solidFill>
                  <a:srgbClr val="FF0000"/>
                </a:solidFill>
              </a:rPr>
              <a:t>mes</a:t>
            </a:r>
            <a:r>
              <a:rPr sz="2000">
                <a:solidFill>
                  <a:srgbClr val="FF0000"/>
                </a:solidFill>
              </a:rPr>
              <a:t> </a:t>
            </a:r>
            <a:r>
              <a:rPr sz="2000" err="1">
                <a:solidFill>
                  <a:srgbClr val="FF0000"/>
                </a:solidFill>
              </a:rPr>
              <a:t>échecs</a:t>
            </a:r>
            <a:r>
              <a:rPr sz="2000">
                <a:solidFill>
                  <a:srgbClr val="FF0000"/>
                </a:solidFill>
              </a:rPr>
              <a:t> et </a:t>
            </a:r>
            <a:r>
              <a:rPr sz="2000" err="1">
                <a:solidFill>
                  <a:srgbClr val="FF0000"/>
                </a:solidFill>
              </a:rPr>
              <a:t>mes</a:t>
            </a:r>
            <a:r>
              <a:rPr sz="2000">
                <a:solidFill>
                  <a:srgbClr val="FF0000"/>
                </a:solidFill>
              </a:rPr>
              <a:t> </a:t>
            </a:r>
            <a:r>
              <a:rPr sz="2000" err="1">
                <a:solidFill>
                  <a:srgbClr val="FF0000"/>
                </a:solidFill>
              </a:rPr>
              <a:t>erreurs</a:t>
            </a:r>
            <a:r>
              <a:rPr sz="2000">
                <a:solidFill>
                  <a:srgbClr val="FF0000"/>
                </a:solidFill>
              </a:rPr>
              <a:t>. »</a:t>
            </a:r>
          </a:p>
          <a:p>
            <a:pPr lvl="1">
              <a:lnSpc>
                <a:spcPct val="100000"/>
              </a:lnSpc>
              <a:spcBef>
                <a:spcPts val="600"/>
              </a:spcBef>
              <a:spcAft>
                <a:spcPts val="600"/>
              </a:spcAft>
            </a:pPr>
            <a:r>
              <a:rPr sz="2000">
                <a:solidFill>
                  <a:schemeClr val="accent6">
                    <a:lumMod val="50000"/>
                  </a:schemeClr>
                </a:solidFill>
              </a:rPr>
              <a:t>Un bon </a:t>
            </a:r>
            <a:r>
              <a:rPr sz="2000" err="1">
                <a:solidFill>
                  <a:schemeClr val="accent6">
                    <a:lumMod val="50000"/>
                  </a:schemeClr>
                </a:solidFill>
              </a:rPr>
              <a:t>conseiller</a:t>
            </a:r>
            <a:r>
              <a:rPr sz="2000">
                <a:solidFill>
                  <a:schemeClr val="accent6">
                    <a:lumMod val="50000"/>
                  </a:schemeClr>
                </a:solidFill>
              </a:rPr>
              <a:t> </a:t>
            </a:r>
            <a:r>
              <a:rPr sz="2000" err="1">
                <a:solidFill>
                  <a:schemeClr val="accent6">
                    <a:lumMod val="50000"/>
                  </a:schemeClr>
                </a:solidFill>
              </a:rPr>
              <a:t>psychologue</a:t>
            </a:r>
            <a:r>
              <a:rPr sz="2000">
                <a:solidFill>
                  <a:schemeClr val="accent6">
                    <a:lumMod val="50000"/>
                  </a:schemeClr>
                </a:solidFill>
              </a:rPr>
              <a:t> se </a:t>
            </a:r>
            <a:r>
              <a:rPr sz="2000" err="1">
                <a:solidFill>
                  <a:schemeClr val="accent6">
                    <a:lumMod val="50000"/>
                  </a:schemeClr>
                </a:solidFill>
              </a:rPr>
              <a:t>comportera</a:t>
            </a:r>
            <a:r>
              <a:rPr sz="2000">
                <a:solidFill>
                  <a:schemeClr val="accent6">
                    <a:lumMod val="50000"/>
                  </a:schemeClr>
                </a:solidFill>
              </a:rPr>
              <a:t> </a:t>
            </a:r>
            <a:r>
              <a:rPr sz="2000" err="1">
                <a:solidFill>
                  <a:schemeClr val="accent6">
                    <a:lumMod val="50000"/>
                  </a:schemeClr>
                </a:solidFill>
              </a:rPr>
              <a:t>en</a:t>
            </a:r>
            <a:r>
              <a:rPr sz="2000">
                <a:solidFill>
                  <a:schemeClr val="accent6">
                    <a:lumMod val="50000"/>
                  </a:schemeClr>
                </a:solidFill>
              </a:rPr>
              <a:t> </a:t>
            </a:r>
            <a:r>
              <a:rPr sz="2000" err="1">
                <a:solidFill>
                  <a:schemeClr val="accent6">
                    <a:lumMod val="50000"/>
                  </a:schemeClr>
                </a:solidFill>
              </a:rPr>
              <a:t>partenaire</a:t>
            </a:r>
            <a:r>
              <a:rPr sz="2000">
                <a:solidFill>
                  <a:schemeClr val="accent6">
                    <a:lumMod val="50000"/>
                  </a:schemeClr>
                </a:solidFill>
              </a:rPr>
              <a:t> </a:t>
            </a:r>
            <a:r>
              <a:rPr sz="2000" err="1">
                <a:solidFill>
                  <a:schemeClr val="accent6">
                    <a:lumMod val="50000"/>
                  </a:schemeClr>
                </a:solidFill>
              </a:rPr>
              <a:t>plein</a:t>
            </a:r>
            <a:r>
              <a:rPr sz="2000">
                <a:solidFill>
                  <a:schemeClr val="accent6">
                    <a:lumMod val="50000"/>
                  </a:schemeClr>
                </a:solidFill>
              </a:rPr>
              <a:t> </a:t>
            </a:r>
            <a:r>
              <a:rPr sz="2000" err="1">
                <a:solidFill>
                  <a:schemeClr val="accent6">
                    <a:lumMod val="50000"/>
                  </a:schemeClr>
                </a:solidFill>
              </a:rPr>
              <a:t>d’empathie</a:t>
            </a:r>
            <a:r>
              <a:rPr sz="2000">
                <a:solidFill>
                  <a:schemeClr val="accent6">
                    <a:lumMod val="50000"/>
                  </a:schemeClr>
                </a:solidFill>
              </a:rPr>
              <a:t> et </a:t>
            </a:r>
            <a:r>
              <a:rPr sz="2000" err="1">
                <a:solidFill>
                  <a:schemeClr val="accent6">
                    <a:lumMod val="50000"/>
                  </a:schemeClr>
                </a:solidFill>
              </a:rPr>
              <a:t>d’ouverture</a:t>
            </a:r>
            <a:r>
              <a:rPr sz="2000">
                <a:solidFill>
                  <a:schemeClr val="accent6">
                    <a:lumMod val="50000"/>
                  </a:schemeClr>
                </a:solidFill>
              </a:rPr>
              <a:t> </a:t>
            </a:r>
            <a:r>
              <a:rPr sz="2000" err="1">
                <a:solidFill>
                  <a:schemeClr val="accent6">
                    <a:lumMod val="50000"/>
                  </a:schemeClr>
                </a:solidFill>
              </a:rPr>
              <a:t>d’esprit</a:t>
            </a:r>
            <a:r>
              <a:rPr sz="2000">
                <a:solidFill>
                  <a:schemeClr val="accent6">
                    <a:lumMod val="50000"/>
                  </a:schemeClr>
                </a:solidFill>
              </a:rPr>
              <a:t>, pas </a:t>
            </a:r>
            <a:r>
              <a:rPr sz="2000" err="1">
                <a:solidFill>
                  <a:schemeClr val="accent6">
                    <a:lumMod val="50000"/>
                  </a:schemeClr>
                </a:solidFill>
              </a:rPr>
              <a:t>comme</a:t>
            </a:r>
            <a:r>
              <a:rPr sz="2000">
                <a:solidFill>
                  <a:schemeClr val="accent6">
                    <a:lumMod val="50000"/>
                  </a:schemeClr>
                </a:solidFill>
              </a:rPr>
              <a:t> un </a:t>
            </a:r>
            <a:r>
              <a:rPr sz="2000" err="1">
                <a:solidFill>
                  <a:schemeClr val="accent6">
                    <a:lumMod val="50000"/>
                  </a:schemeClr>
                </a:solidFill>
              </a:rPr>
              <a:t>juge</a:t>
            </a:r>
            <a:r>
              <a:rPr sz="2000">
                <a:solidFill>
                  <a:schemeClr val="accent6">
                    <a:lumMod val="50000"/>
                  </a:schemeClr>
                </a:solidFill>
              </a:rPr>
              <a:t>. </a:t>
            </a:r>
            <a:endParaRPr lang="en-US" sz="2000">
              <a:solidFill>
                <a:schemeClr val="accent6">
                  <a:lumMod val="50000"/>
                </a:schemeClr>
              </a:solidFill>
            </a:endParaRPr>
          </a:p>
          <a:p>
            <a:pPr marL="457200" lvl="1" indent="0">
              <a:lnSpc>
                <a:spcPct val="100000"/>
              </a:lnSpc>
              <a:spcBef>
                <a:spcPts val="600"/>
              </a:spcBef>
              <a:spcAft>
                <a:spcPts val="600"/>
              </a:spcAft>
              <a:buNone/>
            </a:pPr>
            <a:endParaRPr lang="en-US" sz="2000">
              <a:solidFill>
                <a:schemeClr val="accent6">
                  <a:lumMod val="50000"/>
                </a:schemeClr>
              </a:solidFill>
            </a:endParaRPr>
          </a:p>
          <a:p>
            <a:pPr marL="457200" indent="-457200">
              <a:lnSpc>
                <a:spcPct val="100000"/>
              </a:lnSpc>
              <a:spcBef>
                <a:spcPts val="600"/>
              </a:spcBef>
              <a:spcAft>
                <a:spcPts val="600"/>
              </a:spcAft>
              <a:buFont typeface="+mj-lt"/>
              <a:buAutoNum type="arabicPeriod" startAt="6"/>
            </a:pPr>
            <a:r>
              <a:rPr sz="2000">
                <a:solidFill>
                  <a:srgbClr val="FF0000"/>
                </a:solidFill>
              </a:rPr>
              <a:t>Demander </a:t>
            </a:r>
            <a:r>
              <a:rPr sz="2000" err="1">
                <a:solidFill>
                  <a:srgbClr val="FF0000"/>
                </a:solidFill>
              </a:rPr>
              <a:t>l’aide</a:t>
            </a:r>
            <a:r>
              <a:rPr sz="2000">
                <a:solidFill>
                  <a:srgbClr val="FF0000"/>
                </a:solidFill>
              </a:rPr>
              <a:t> d'un </a:t>
            </a:r>
            <a:r>
              <a:rPr sz="2000" err="1">
                <a:solidFill>
                  <a:srgbClr val="FF0000"/>
                </a:solidFill>
              </a:rPr>
              <a:t>conseiller</a:t>
            </a:r>
            <a:r>
              <a:rPr sz="2000">
                <a:solidFill>
                  <a:srgbClr val="FF0000"/>
                </a:solidFill>
              </a:rPr>
              <a:t> </a:t>
            </a:r>
            <a:r>
              <a:rPr sz="2000" err="1">
                <a:solidFill>
                  <a:srgbClr val="FF0000"/>
                </a:solidFill>
              </a:rPr>
              <a:t>psychologue</a:t>
            </a:r>
            <a:r>
              <a:rPr sz="2000">
                <a:solidFill>
                  <a:srgbClr val="FF0000"/>
                </a:solidFill>
              </a:rPr>
              <a:t> </a:t>
            </a:r>
            <a:r>
              <a:rPr sz="2000" err="1">
                <a:solidFill>
                  <a:srgbClr val="FF0000"/>
                </a:solidFill>
              </a:rPr>
              <a:t>est</a:t>
            </a:r>
            <a:r>
              <a:rPr sz="2000">
                <a:solidFill>
                  <a:srgbClr val="FF0000"/>
                </a:solidFill>
              </a:rPr>
              <a:t> un </a:t>
            </a:r>
            <a:r>
              <a:rPr sz="2000" err="1">
                <a:solidFill>
                  <a:srgbClr val="FF0000"/>
                </a:solidFill>
              </a:rPr>
              <a:t>signe</a:t>
            </a:r>
            <a:r>
              <a:rPr sz="2000">
                <a:solidFill>
                  <a:srgbClr val="FF0000"/>
                </a:solidFill>
              </a:rPr>
              <a:t> de faiblesse</a:t>
            </a:r>
          </a:p>
          <a:p>
            <a:pPr lvl="1">
              <a:lnSpc>
                <a:spcPct val="100000"/>
              </a:lnSpc>
              <a:spcBef>
                <a:spcPts val="600"/>
              </a:spcBef>
              <a:spcAft>
                <a:spcPts val="600"/>
              </a:spcAft>
            </a:pPr>
            <a:r>
              <a:rPr sz="2000">
                <a:solidFill>
                  <a:schemeClr val="accent6">
                    <a:lumMod val="50000"/>
                  </a:schemeClr>
                </a:solidFill>
              </a:rPr>
              <a:t>Le fait que </a:t>
            </a:r>
            <a:r>
              <a:rPr sz="2000" err="1">
                <a:solidFill>
                  <a:schemeClr val="accent6">
                    <a:lumMod val="50000"/>
                  </a:schemeClr>
                </a:solidFill>
              </a:rPr>
              <a:t>vous</a:t>
            </a:r>
            <a:r>
              <a:rPr sz="2000">
                <a:solidFill>
                  <a:schemeClr val="accent6">
                    <a:lumMod val="50000"/>
                  </a:schemeClr>
                </a:solidFill>
              </a:rPr>
              <a:t> </a:t>
            </a:r>
            <a:r>
              <a:rPr sz="2000" err="1">
                <a:solidFill>
                  <a:schemeClr val="accent6">
                    <a:lumMod val="50000"/>
                  </a:schemeClr>
                </a:solidFill>
              </a:rPr>
              <a:t>cherchiez</a:t>
            </a:r>
            <a:r>
              <a:rPr sz="2000">
                <a:solidFill>
                  <a:schemeClr val="accent6">
                    <a:lumMod val="50000"/>
                  </a:schemeClr>
                </a:solidFill>
              </a:rPr>
              <a:t> </a:t>
            </a:r>
            <a:r>
              <a:rPr sz="2000" err="1">
                <a:solidFill>
                  <a:schemeClr val="accent6">
                    <a:lumMod val="50000"/>
                  </a:schemeClr>
                </a:solidFill>
              </a:rPr>
              <a:t>à</a:t>
            </a:r>
            <a:r>
              <a:rPr sz="2000">
                <a:solidFill>
                  <a:schemeClr val="accent6">
                    <a:lumMod val="50000"/>
                  </a:schemeClr>
                </a:solidFill>
              </a:rPr>
              <a:t> </a:t>
            </a:r>
            <a:r>
              <a:rPr sz="2000" err="1">
                <a:solidFill>
                  <a:schemeClr val="accent6">
                    <a:lumMod val="50000"/>
                  </a:schemeClr>
                </a:solidFill>
              </a:rPr>
              <a:t>obtenir</a:t>
            </a:r>
            <a:r>
              <a:rPr sz="2000">
                <a:solidFill>
                  <a:schemeClr val="accent6">
                    <a:lumMod val="50000"/>
                  </a:schemeClr>
                </a:solidFill>
              </a:rPr>
              <a:t> </a:t>
            </a:r>
            <a:r>
              <a:rPr sz="2000" err="1">
                <a:solidFill>
                  <a:schemeClr val="accent6">
                    <a:lumMod val="50000"/>
                  </a:schemeClr>
                </a:solidFill>
              </a:rPr>
              <a:t>l’aide</a:t>
            </a:r>
            <a:r>
              <a:rPr sz="2000">
                <a:solidFill>
                  <a:schemeClr val="accent6">
                    <a:lumMod val="50000"/>
                  </a:schemeClr>
                </a:solidFill>
              </a:rPr>
              <a:t> d'un </a:t>
            </a:r>
            <a:r>
              <a:rPr sz="2000" err="1">
                <a:solidFill>
                  <a:schemeClr val="accent6">
                    <a:lumMod val="50000"/>
                  </a:schemeClr>
                </a:solidFill>
              </a:rPr>
              <a:t>conseiller</a:t>
            </a:r>
            <a:r>
              <a:rPr sz="2000">
                <a:solidFill>
                  <a:schemeClr val="accent6">
                    <a:lumMod val="50000"/>
                  </a:schemeClr>
                </a:solidFill>
              </a:rPr>
              <a:t> </a:t>
            </a:r>
            <a:r>
              <a:rPr sz="2000" err="1">
                <a:solidFill>
                  <a:schemeClr val="accent6">
                    <a:lumMod val="50000"/>
                  </a:schemeClr>
                </a:solidFill>
              </a:rPr>
              <a:t>psychologue</a:t>
            </a:r>
            <a:r>
              <a:rPr sz="2000">
                <a:solidFill>
                  <a:schemeClr val="accent6">
                    <a:lumMod val="50000"/>
                  </a:schemeClr>
                </a:solidFill>
              </a:rPr>
              <a:t> </a:t>
            </a:r>
            <a:r>
              <a:rPr sz="2000" err="1">
                <a:solidFill>
                  <a:schemeClr val="accent6">
                    <a:lumMod val="50000"/>
                  </a:schemeClr>
                </a:solidFill>
              </a:rPr>
              <a:t>démontre</a:t>
            </a:r>
            <a:r>
              <a:rPr sz="2000">
                <a:solidFill>
                  <a:schemeClr val="accent6">
                    <a:lumMod val="50000"/>
                  </a:schemeClr>
                </a:solidFill>
              </a:rPr>
              <a:t> </a:t>
            </a:r>
            <a:r>
              <a:rPr sz="2000" err="1">
                <a:solidFill>
                  <a:schemeClr val="accent6">
                    <a:lumMod val="50000"/>
                  </a:schemeClr>
                </a:solidFill>
              </a:rPr>
              <a:t>en</a:t>
            </a:r>
            <a:r>
              <a:rPr sz="2000">
                <a:solidFill>
                  <a:schemeClr val="accent6">
                    <a:lumMod val="50000"/>
                  </a:schemeClr>
                </a:solidFill>
              </a:rPr>
              <a:t> </a:t>
            </a:r>
            <a:r>
              <a:rPr sz="2000" err="1">
                <a:solidFill>
                  <a:schemeClr val="accent6">
                    <a:lumMod val="50000"/>
                  </a:schemeClr>
                </a:solidFill>
              </a:rPr>
              <a:t>réalité</a:t>
            </a:r>
            <a:r>
              <a:rPr sz="2000">
                <a:solidFill>
                  <a:schemeClr val="accent6">
                    <a:lumMod val="50000"/>
                  </a:schemeClr>
                </a:solidFill>
              </a:rPr>
              <a:t> que </a:t>
            </a:r>
            <a:r>
              <a:rPr sz="2000" err="1">
                <a:solidFill>
                  <a:schemeClr val="accent6">
                    <a:lumMod val="50000"/>
                  </a:schemeClr>
                </a:solidFill>
              </a:rPr>
              <a:t>vous</a:t>
            </a:r>
            <a:r>
              <a:rPr sz="2000">
                <a:solidFill>
                  <a:schemeClr val="accent6">
                    <a:lumMod val="50000"/>
                  </a:schemeClr>
                </a:solidFill>
              </a:rPr>
              <a:t> </a:t>
            </a:r>
            <a:r>
              <a:rPr sz="2000" err="1">
                <a:solidFill>
                  <a:schemeClr val="accent6">
                    <a:lumMod val="50000"/>
                  </a:schemeClr>
                </a:solidFill>
              </a:rPr>
              <a:t>êtes</a:t>
            </a:r>
            <a:r>
              <a:rPr sz="2000">
                <a:solidFill>
                  <a:schemeClr val="accent6">
                    <a:lumMod val="50000"/>
                  </a:schemeClr>
                </a:solidFill>
              </a:rPr>
              <a:t> </a:t>
            </a:r>
            <a:r>
              <a:rPr sz="2000" err="1">
                <a:solidFill>
                  <a:schemeClr val="accent6">
                    <a:lumMod val="50000"/>
                  </a:schemeClr>
                </a:solidFill>
              </a:rPr>
              <a:t>disposé</a:t>
            </a:r>
            <a:r>
              <a:rPr sz="2000">
                <a:solidFill>
                  <a:schemeClr val="accent6">
                    <a:lumMod val="50000"/>
                  </a:schemeClr>
                </a:solidFill>
              </a:rPr>
              <a:t> </a:t>
            </a:r>
            <a:r>
              <a:rPr sz="2000" err="1">
                <a:solidFill>
                  <a:schemeClr val="accent6">
                    <a:lumMod val="50000"/>
                  </a:schemeClr>
                </a:solidFill>
              </a:rPr>
              <a:t>à</a:t>
            </a:r>
            <a:r>
              <a:rPr sz="2000">
                <a:solidFill>
                  <a:schemeClr val="accent6">
                    <a:lumMod val="50000"/>
                  </a:schemeClr>
                </a:solidFill>
              </a:rPr>
              <a:t> </a:t>
            </a:r>
            <a:r>
              <a:rPr sz="2000" err="1">
                <a:solidFill>
                  <a:schemeClr val="accent6">
                    <a:lumMod val="50000"/>
                  </a:schemeClr>
                </a:solidFill>
              </a:rPr>
              <a:t>comprendre</a:t>
            </a:r>
            <a:r>
              <a:rPr sz="2000">
                <a:solidFill>
                  <a:schemeClr val="accent6">
                    <a:lumMod val="50000"/>
                  </a:schemeClr>
                </a:solidFill>
              </a:rPr>
              <a:t> et </a:t>
            </a:r>
            <a:r>
              <a:rPr sz="2000" err="1">
                <a:solidFill>
                  <a:schemeClr val="accent6">
                    <a:lumMod val="50000"/>
                  </a:schemeClr>
                </a:solidFill>
              </a:rPr>
              <a:t>à</a:t>
            </a:r>
            <a:r>
              <a:rPr sz="2000">
                <a:solidFill>
                  <a:schemeClr val="accent6">
                    <a:lumMod val="50000"/>
                  </a:schemeClr>
                </a:solidFill>
              </a:rPr>
              <a:t> </a:t>
            </a:r>
            <a:r>
              <a:rPr sz="2000" err="1">
                <a:solidFill>
                  <a:schemeClr val="accent6">
                    <a:lumMod val="50000"/>
                  </a:schemeClr>
                </a:solidFill>
              </a:rPr>
              <a:t>surmonter</a:t>
            </a:r>
            <a:r>
              <a:rPr sz="2000">
                <a:solidFill>
                  <a:schemeClr val="accent6">
                    <a:lumMod val="50000"/>
                  </a:schemeClr>
                </a:solidFill>
              </a:rPr>
              <a:t> les </a:t>
            </a:r>
            <a:r>
              <a:rPr sz="2000" err="1">
                <a:solidFill>
                  <a:schemeClr val="accent6">
                    <a:lumMod val="50000"/>
                  </a:schemeClr>
                </a:solidFill>
              </a:rPr>
              <a:t>défis</a:t>
            </a:r>
            <a:r>
              <a:rPr sz="2000">
                <a:solidFill>
                  <a:schemeClr val="accent6">
                    <a:lumMod val="50000"/>
                  </a:schemeClr>
                </a:solidFill>
              </a:rPr>
              <a:t> de </a:t>
            </a:r>
            <a:r>
              <a:rPr sz="2000" err="1">
                <a:solidFill>
                  <a:schemeClr val="accent6">
                    <a:lumMod val="50000"/>
                  </a:schemeClr>
                </a:solidFill>
              </a:rPr>
              <a:t>l’existence</a:t>
            </a:r>
            <a:r>
              <a:rPr sz="2000">
                <a:solidFill>
                  <a:schemeClr val="accent6">
                    <a:lumMod val="50000"/>
                  </a:schemeClr>
                </a:solidFill>
              </a:rPr>
              <a:t>. Il </a:t>
            </a:r>
            <a:r>
              <a:rPr sz="2000" err="1">
                <a:solidFill>
                  <a:schemeClr val="accent6">
                    <a:lumMod val="50000"/>
                  </a:schemeClr>
                </a:solidFill>
              </a:rPr>
              <a:t>faut</a:t>
            </a:r>
            <a:r>
              <a:rPr sz="2000">
                <a:solidFill>
                  <a:schemeClr val="accent6">
                    <a:lumMod val="50000"/>
                  </a:schemeClr>
                </a:solidFill>
              </a:rPr>
              <a:t> du courage pour explorer </a:t>
            </a:r>
            <a:r>
              <a:rPr sz="2000" err="1">
                <a:solidFill>
                  <a:schemeClr val="accent6">
                    <a:lumMod val="50000"/>
                  </a:schemeClr>
                </a:solidFill>
              </a:rPr>
              <a:t>ses</a:t>
            </a:r>
            <a:r>
              <a:rPr sz="2000">
                <a:solidFill>
                  <a:schemeClr val="accent6">
                    <a:lumMod val="50000"/>
                  </a:schemeClr>
                </a:solidFill>
              </a:rPr>
              <a:t> </a:t>
            </a:r>
            <a:r>
              <a:rPr sz="2000" err="1">
                <a:solidFill>
                  <a:schemeClr val="accent6">
                    <a:lumMod val="50000"/>
                  </a:schemeClr>
                </a:solidFill>
              </a:rPr>
              <a:t>émotions</a:t>
            </a:r>
            <a:r>
              <a:rPr sz="2000">
                <a:solidFill>
                  <a:schemeClr val="accent6">
                    <a:lumMod val="50000"/>
                  </a:schemeClr>
                </a:solidFill>
              </a:rPr>
              <a:t> </a:t>
            </a:r>
            <a:r>
              <a:rPr sz="2000" err="1">
                <a:solidFill>
                  <a:schemeClr val="accent6">
                    <a:lumMod val="50000"/>
                  </a:schemeClr>
                </a:solidFill>
              </a:rPr>
              <a:t>délicates</a:t>
            </a:r>
            <a:r>
              <a:rPr sz="2000">
                <a:solidFill>
                  <a:schemeClr val="accent6">
                    <a:lumMod val="50000"/>
                  </a:schemeClr>
                </a:solidFill>
              </a:rPr>
              <a:t> et </a:t>
            </a:r>
            <a:r>
              <a:rPr sz="2000" err="1">
                <a:solidFill>
                  <a:schemeClr val="accent6">
                    <a:lumMod val="50000"/>
                  </a:schemeClr>
                </a:solidFill>
              </a:rPr>
              <a:t>ses</a:t>
            </a:r>
            <a:r>
              <a:rPr sz="2000">
                <a:solidFill>
                  <a:schemeClr val="accent6">
                    <a:lumMod val="50000"/>
                  </a:schemeClr>
                </a:solidFill>
              </a:rPr>
              <a:t> </a:t>
            </a:r>
            <a:r>
              <a:rPr sz="2000" err="1">
                <a:solidFill>
                  <a:schemeClr val="accent6">
                    <a:lumMod val="50000"/>
                  </a:schemeClr>
                </a:solidFill>
              </a:rPr>
              <a:t>expériences</a:t>
            </a:r>
            <a:r>
              <a:rPr sz="2000">
                <a:solidFill>
                  <a:schemeClr val="accent6">
                    <a:lumMod val="50000"/>
                  </a:schemeClr>
                </a:solidFill>
              </a:rPr>
              <a:t> </a:t>
            </a:r>
            <a:r>
              <a:rPr sz="2000" err="1">
                <a:solidFill>
                  <a:schemeClr val="accent6">
                    <a:lumMod val="50000"/>
                  </a:schemeClr>
                </a:solidFill>
              </a:rPr>
              <a:t>difficiles</a:t>
            </a:r>
            <a:r>
              <a:rPr sz="2000">
                <a:solidFill>
                  <a:schemeClr val="accent6">
                    <a:lumMod val="50000"/>
                  </a:schemeClr>
                </a:solidFill>
              </a:rPr>
              <a:t>. </a:t>
            </a:r>
          </a:p>
          <a:p>
            <a:pPr>
              <a:spcBef>
                <a:spcPts val="300"/>
              </a:spcBef>
              <a:spcAft>
                <a:spcPts val="300"/>
              </a:spcAft>
            </a:pPr>
            <a:endParaRPr lang="en-US" sz="2000"/>
          </a:p>
        </p:txBody>
      </p:sp>
      <p:sp>
        <p:nvSpPr>
          <p:cNvPr id="4" name="Title 1">
            <a:extLst>
              <a:ext uri="{FF2B5EF4-FFF2-40B4-BE49-F238E27FC236}">
                <a16:creationId xmlns:a16="http://schemas.microsoft.com/office/drawing/2014/main" id="{D26DBDE6-1DF3-8747-B360-A6B0F9FF7D54}"/>
              </a:ext>
            </a:extLst>
          </p:cNvPr>
          <p:cNvSpPr>
            <a:spLocks noGrp="1"/>
          </p:cNvSpPr>
          <p:nvPr>
            <p:ph type="title"/>
          </p:nvPr>
        </p:nvSpPr>
        <p:spPr>
          <a:xfrm>
            <a:off x="171449" y="136526"/>
            <a:ext cx="8758795" cy="611619"/>
          </a:xfrm>
        </p:spPr>
        <p:txBody>
          <a:bodyPr/>
          <a:lstStyle/>
          <a:p>
            <a:r>
              <a:rPr err="1"/>
              <a:t>Mythes</a:t>
            </a:r>
            <a:r>
              <a:t> courants </a:t>
            </a:r>
            <a:r>
              <a:rPr err="1"/>
              <a:t>à</a:t>
            </a:r>
            <a:r>
              <a:t> </a:t>
            </a:r>
            <a:r>
              <a:rPr err="1"/>
              <a:t>propos</a:t>
            </a:r>
            <a:r>
              <a:t> du </a:t>
            </a:r>
            <a:r>
              <a:rPr err="1"/>
              <a:t>conseil</a:t>
            </a:r>
            <a:r>
              <a:t> </a:t>
            </a:r>
            <a:r>
              <a:rPr err="1"/>
              <a:t>psychologique</a:t>
            </a:r>
            <a:endParaRPr/>
          </a:p>
        </p:txBody>
      </p:sp>
    </p:spTree>
    <p:extLst>
      <p:ext uri="{BB962C8B-B14F-4D97-AF65-F5344CB8AC3E}">
        <p14:creationId xmlns:p14="http://schemas.microsoft.com/office/powerpoint/2010/main" val="1671911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80228-6D98-894C-A35E-D4FAD413C068}"/>
              </a:ext>
            </a:extLst>
          </p:cNvPr>
          <p:cNvSpPr>
            <a:spLocks noGrp="1"/>
          </p:cNvSpPr>
          <p:nvPr>
            <p:ph type="title"/>
          </p:nvPr>
        </p:nvSpPr>
        <p:spPr/>
        <p:txBody>
          <a:bodyPr/>
          <a:lstStyle/>
          <a:p>
            <a:r>
              <a:t>Le conseil psychologique est...</a:t>
            </a:r>
          </a:p>
        </p:txBody>
      </p:sp>
      <p:sp>
        <p:nvSpPr>
          <p:cNvPr id="3" name="Text Placeholder 2">
            <a:extLst>
              <a:ext uri="{FF2B5EF4-FFF2-40B4-BE49-F238E27FC236}">
                <a16:creationId xmlns:a16="http://schemas.microsoft.com/office/drawing/2014/main" id="{AD029C0F-EA97-2E4B-8D5C-E73047B661A5}"/>
              </a:ext>
            </a:extLst>
          </p:cNvPr>
          <p:cNvSpPr>
            <a:spLocks noGrp="1"/>
          </p:cNvSpPr>
          <p:nvPr>
            <p:ph type="body" sz="quarter" idx="10"/>
          </p:nvPr>
        </p:nvSpPr>
        <p:spPr>
          <a:xfrm>
            <a:off x="450088" y="1864426"/>
            <a:ext cx="8239125" cy="3657600"/>
          </a:xfrm>
        </p:spPr>
        <p:txBody>
          <a:bodyPr/>
          <a:lstStyle/>
          <a:p>
            <a:pPr marL="0" indent="0" algn="ctr">
              <a:lnSpc>
                <a:spcPct val="100000"/>
              </a:lnSpc>
              <a:buNone/>
            </a:pPr>
            <a:r>
              <a:rPr sz="2400"/>
              <a:t>« Une </a:t>
            </a:r>
            <a:r>
              <a:rPr sz="2400" err="1"/>
              <a:t>opportunité</a:t>
            </a:r>
            <a:r>
              <a:rPr sz="2400"/>
              <a:t> </a:t>
            </a:r>
            <a:r>
              <a:rPr sz="2400" err="1"/>
              <a:t>personnelle</a:t>
            </a:r>
            <a:r>
              <a:rPr sz="2400"/>
              <a:t> de </a:t>
            </a:r>
            <a:r>
              <a:rPr sz="2400" err="1"/>
              <a:t>bénéficier</a:t>
            </a:r>
            <a:r>
              <a:rPr sz="2400"/>
              <a:t> d'un </a:t>
            </a:r>
            <a:r>
              <a:rPr sz="2400" err="1"/>
              <a:t>soutien</a:t>
            </a:r>
            <a:r>
              <a:rPr sz="2400"/>
              <a:t> et de se </a:t>
            </a:r>
            <a:r>
              <a:rPr sz="2400" err="1"/>
              <a:t>développer</a:t>
            </a:r>
            <a:r>
              <a:rPr sz="2400"/>
              <a:t> </a:t>
            </a:r>
            <a:r>
              <a:rPr sz="2400" err="1"/>
              <a:t>durant</a:t>
            </a:r>
            <a:r>
              <a:rPr sz="2400"/>
              <a:t> les </a:t>
            </a:r>
            <a:r>
              <a:rPr sz="2400" err="1"/>
              <a:t>périodes</a:t>
            </a:r>
            <a:r>
              <a:rPr sz="2400"/>
              <a:t> </a:t>
            </a:r>
            <a:r>
              <a:rPr sz="2400" err="1"/>
              <a:t>difficiles</a:t>
            </a:r>
            <a:r>
              <a:rPr sz="2400"/>
              <a:t> de la vie. Le</a:t>
            </a:r>
            <a:r>
              <a:rPr lang="en-GB" sz="2400"/>
              <a:t> </a:t>
            </a:r>
            <a:r>
              <a:rPr sz="2400" err="1"/>
              <a:t>conseil</a:t>
            </a:r>
            <a:r>
              <a:rPr sz="2400"/>
              <a:t> </a:t>
            </a:r>
            <a:r>
              <a:rPr sz="2400" err="1"/>
              <a:t>psychologique</a:t>
            </a:r>
            <a:r>
              <a:rPr sz="2400"/>
              <a:t> </a:t>
            </a:r>
            <a:r>
              <a:rPr sz="2400" err="1"/>
              <a:t>individuel</a:t>
            </a:r>
            <a:r>
              <a:rPr sz="2400"/>
              <a:t> </a:t>
            </a:r>
            <a:r>
              <a:rPr sz="2400" err="1"/>
              <a:t>peut</a:t>
            </a:r>
            <a:r>
              <a:rPr sz="2400"/>
              <a:t> aider </a:t>
            </a:r>
            <a:r>
              <a:rPr sz="2400" err="1"/>
              <a:t>à</a:t>
            </a:r>
            <a:r>
              <a:rPr sz="2400"/>
              <a:t> faire face </a:t>
            </a:r>
            <a:r>
              <a:rPr sz="2400" err="1"/>
              <a:t>à</a:t>
            </a:r>
            <a:r>
              <a:rPr sz="2400"/>
              <a:t> de </a:t>
            </a:r>
            <a:r>
              <a:rPr sz="2400" err="1"/>
              <a:t>nombreuses</a:t>
            </a:r>
            <a:r>
              <a:rPr sz="2400"/>
              <a:t> situations </a:t>
            </a:r>
            <a:r>
              <a:rPr sz="2400" err="1"/>
              <a:t>personnelles</a:t>
            </a:r>
            <a:r>
              <a:rPr sz="2400"/>
              <a:t>, </a:t>
            </a:r>
            <a:r>
              <a:rPr sz="2400" err="1"/>
              <a:t>comme</a:t>
            </a:r>
            <a:r>
              <a:rPr sz="2400"/>
              <a:t> la </a:t>
            </a:r>
            <a:r>
              <a:rPr sz="2400" err="1"/>
              <a:t>colère</a:t>
            </a:r>
            <a:r>
              <a:rPr sz="2400"/>
              <a:t>, la </a:t>
            </a:r>
            <a:r>
              <a:rPr sz="2400" err="1"/>
              <a:t>dépression</a:t>
            </a:r>
            <a:r>
              <a:rPr sz="2400"/>
              <a:t>, </a:t>
            </a:r>
            <a:r>
              <a:rPr sz="2400" err="1"/>
              <a:t>l’anxiété</a:t>
            </a:r>
            <a:r>
              <a:rPr sz="2400"/>
              <a:t>, </a:t>
            </a:r>
            <a:r>
              <a:rPr sz="2400" err="1"/>
              <a:t>l’abus</a:t>
            </a:r>
            <a:r>
              <a:rPr sz="2400"/>
              <a:t> de </a:t>
            </a:r>
            <a:r>
              <a:rPr sz="2400" err="1"/>
              <a:t>stupéfiants</a:t>
            </a:r>
            <a:r>
              <a:rPr sz="2400"/>
              <a:t>, les </a:t>
            </a:r>
            <a:r>
              <a:rPr sz="2400" err="1"/>
              <a:t>difficultés</a:t>
            </a:r>
            <a:r>
              <a:rPr sz="2400"/>
              <a:t> </a:t>
            </a:r>
            <a:r>
              <a:rPr sz="2400" err="1"/>
              <a:t>conjugales</a:t>
            </a:r>
            <a:r>
              <a:rPr sz="2400"/>
              <a:t> et </a:t>
            </a:r>
            <a:r>
              <a:rPr sz="2400" err="1"/>
              <a:t>relationnelles</a:t>
            </a:r>
            <a:r>
              <a:rPr sz="2400"/>
              <a:t>, les </a:t>
            </a:r>
            <a:r>
              <a:rPr sz="2400" err="1"/>
              <a:t>problèmes</a:t>
            </a:r>
            <a:r>
              <a:rPr sz="2400"/>
              <a:t> </a:t>
            </a:r>
            <a:r>
              <a:rPr sz="2400" err="1"/>
              <a:t>liés</a:t>
            </a:r>
            <a:r>
              <a:rPr sz="2400"/>
              <a:t> aux devoirs </a:t>
            </a:r>
            <a:r>
              <a:rPr sz="2400" err="1"/>
              <a:t>parentaux</a:t>
            </a:r>
            <a:r>
              <a:rPr sz="2400"/>
              <a:t>, les </a:t>
            </a:r>
            <a:r>
              <a:rPr sz="2400" err="1"/>
              <a:t>difficultés</a:t>
            </a:r>
            <a:r>
              <a:rPr sz="2400"/>
              <a:t> </a:t>
            </a:r>
            <a:r>
              <a:rPr sz="2400" err="1"/>
              <a:t>scolaires</a:t>
            </a:r>
            <a:r>
              <a:rPr sz="2400"/>
              <a:t> [</a:t>
            </a:r>
            <a:r>
              <a:rPr sz="2400" err="1"/>
              <a:t>ou</a:t>
            </a:r>
            <a:r>
              <a:rPr sz="2400"/>
              <a:t> </a:t>
            </a:r>
            <a:r>
              <a:rPr sz="2400" err="1"/>
              <a:t>professionnelles</a:t>
            </a:r>
            <a:r>
              <a:rPr sz="2400"/>
              <a:t>], les</a:t>
            </a:r>
            <a:r>
              <a:rPr lang="en-GB" sz="2400"/>
              <a:t> </a:t>
            </a:r>
            <a:r>
              <a:rPr sz="2400" err="1"/>
              <a:t>changements</a:t>
            </a:r>
            <a:r>
              <a:rPr sz="2400"/>
              <a:t> de </a:t>
            </a:r>
            <a:r>
              <a:rPr sz="2400" err="1"/>
              <a:t>carrière</a:t>
            </a:r>
            <a:r>
              <a:rPr sz="2400"/>
              <a:t>, etc. »</a:t>
            </a:r>
          </a:p>
          <a:p>
            <a:pPr marL="0" indent="0" algn="ctr">
              <a:lnSpc>
                <a:spcPct val="100000"/>
              </a:lnSpc>
              <a:buNone/>
            </a:pPr>
            <a:r>
              <a:rPr sz="1800"/>
              <a:t>(</a:t>
            </a:r>
            <a:r>
              <a:rPr sz="1800" err="1"/>
              <a:t>Université</a:t>
            </a:r>
            <a:r>
              <a:rPr sz="1800"/>
              <a:t> de </a:t>
            </a:r>
            <a:r>
              <a:rPr sz="1800" err="1"/>
              <a:t>l’état</a:t>
            </a:r>
            <a:r>
              <a:rPr sz="1800"/>
              <a:t> de </a:t>
            </a:r>
            <a:r>
              <a:rPr sz="1800" err="1"/>
              <a:t>Californie</a:t>
            </a:r>
            <a:r>
              <a:rPr sz="1800"/>
              <a:t>)</a:t>
            </a:r>
          </a:p>
        </p:txBody>
      </p:sp>
    </p:spTree>
    <p:extLst>
      <p:ext uri="{BB962C8B-B14F-4D97-AF65-F5344CB8AC3E}">
        <p14:creationId xmlns:p14="http://schemas.microsoft.com/office/powerpoint/2010/main" val="2438983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r>
              <a:t>2. Quelles compétences possèdent les conseillers psychologues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1185115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448</TotalTime>
  <Words>3208</Words>
  <Application>Microsoft Office PowerPoint</Application>
  <PresentationFormat>Affichage à l'écran (4:3)</PresentationFormat>
  <Paragraphs>248</Paragraphs>
  <Slides>28</Slides>
  <Notes>25</Notes>
  <HiddenSlides>0</HiddenSlides>
  <MMClips>0</MMClips>
  <ScaleCrop>false</ScaleCrop>
  <HeadingPairs>
    <vt:vector size="8" baseType="variant">
      <vt:variant>
        <vt:lpstr>Polices utilisées</vt:lpstr>
      </vt:variant>
      <vt:variant>
        <vt:i4>2</vt:i4>
      </vt:variant>
      <vt:variant>
        <vt:lpstr>Thème</vt:lpstr>
      </vt:variant>
      <vt:variant>
        <vt:i4>1</vt:i4>
      </vt:variant>
      <vt:variant>
        <vt:lpstr>Serveurs OLE incorporés</vt:lpstr>
      </vt:variant>
      <vt:variant>
        <vt:i4>1</vt:i4>
      </vt:variant>
      <vt:variant>
        <vt:lpstr>Titres des diapositives</vt:lpstr>
      </vt:variant>
      <vt:variant>
        <vt:i4>28</vt:i4>
      </vt:variant>
    </vt:vector>
  </HeadingPairs>
  <TitlesOfParts>
    <vt:vector size="32" baseType="lpstr">
      <vt:lpstr>Arial</vt:lpstr>
      <vt:lpstr>Calibri</vt:lpstr>
      <vt:lpstr>Office Theme</vt:lpstr>
      <vt:lpstr>think-cell Slide</vt:lpstr>
      <vt:lpstr>Qu'est-ce que le conseil psychologique, et est-ce pour moi ?</vt:lpstr>
      <vt:lpstr>Questions importantes auxquelles répondre</vt:lpstr>
      <vt:lpstr>1. Qu'est-ce que le conseil psychologique ?</vt:lpstr>
      <vt:lpstr>Le conseil psychologique est...</vt:lpstr>
      <vt:lpstr>Mythes courants à propos du conseil psychologique</vt:lpstr>
      <vt:lpstr>Mythes courants à propos du conseil psychologique</vt:lpstr>
      <vt:lpstr>Mythes courants à propos du conseil psychologique</vt:lpstr>
      <vt:lpstr>Le conseil psychologique est...</vt:lpstr>
      <vt:lpstr>2. Quelles compétences possèdent les conseillers psychologues ?</vt:lpstr>
      <vt:lpstr>Les conseillers psychologues sont formés pour...</vt:lpstr>
      <vt:lpstr>3. En quoi pourrais-je bénéficier des services d'un conseiller psychologue ?</vt:lpstr>
      <vt:lpstr>Un conseiller psychologue peut vous aider à...</vt:lpstr>
      <vt:lpstr>4. Comment savoir quand quelqu'un pourrait bénéficier de l’aide d'un conseiller psychologue ?</vt:lpstr>
      <vt:lpstr>L’aide d'un conseiller psychologue peut être précieuse...</vt:lpstr>
      <vt:lpstr>Il est fortement recommandé de s’adresser à un conseiller psychologue si...</vt:lpstr>
      <vt:lpstr>Il est fortement recommandé de s’adresser à un conseiller psychologue si...</vt:lpstr>
      <vt:lpstr>Après un incident critique, un conseiller psychologue peut vous aider à...</vt:lpstr>
      <vt:lpstr>5. Que se passe-t-il durant une séance de conseil psychologique ?</vt:lpstr>
      <vt:lpstr>Durant votre première séance de conseil psychologique...</vt:lpstr>
      <vt:lpstr>Questions que vous pourriez vouloir poser à un conseiller psychologue </vt:lpstr>
      <vt:lpstr>6. Comment puis-je bénéficier de l’aide d’un conseiller psychologique ?</vt:lpstr>
      <vt:lpstr>Le Programme d'aide aux employés et de résilience (EARP) de l'IRC</vt:lpstr>
      <vt:lpstr>Ce qui se passe lorsque vous contactez KonTerra...</vt:lpstr>
      <vt:lpstr>Comment programmer une session</vt:lpstr>
      <vt:lpstr>Confidentialité garantie</vt:lpstr>
      <vt:lpstr>L’application KonTerra CONNECTTM</vt:lpstr>
      <vt:lpstr>Bref exercice de réflexion</vt:lpstr>
      <vt:lpstr>Les principales leçons à reteni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Annabel Bon-Bétend Gredin</cp:lastModifiedBy>
  <cp:revision>46</cp:revision>
  <cp:lastPrinted>2018-03-21T12:36:13Z</cp:lastPrinted>
  <dcterms:created xsi:type="dcterms:W3CDTF">2019-12-13T02:50:12Z</dcterms:created>
  <dcterms:modified xsi:type="dcterms:W3CDTF">2020-01-15T12:20:10Z</dcterms:modified>
</cp:coreProperties>
</file>